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28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ags/tag50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0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3.xml" ContentType="application/vnd.openxmlformats-officedocument.theme+xml"/>
  <Override PartName="/ppt/tags/tag101.xml" ContentType="application/vnd.openxmlformats-officedocument.presentationml.tags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2" r:id="rId5"/>
    <p:sldMasterId id="2147483685" r:id="rId6"/>
    <p:sldMasterId id="2147483712" r:id="rId7"/>
    <p:sldMasterId id="2147483728" r:id="rId8"/>
    <p:sldMasterId id="2147483741" r:id="rId9"/>
    <p:sldMasterId id="2147483781" r:id="rId10"/>
    <p:sldMasterId id="2147483794" r:id="rId11"/>
    <p:sldMasterId id="2147483866" r:id="rId12"/>
    <p:sldMasterId id="2147483892" r:id="rId13"/>
    <p:sldMasterId id="2147483913" r:id="rId14"/>
    <p:sldMasterId id="2147483919" r:id="rId15"/>
    <p:sldMasterId id="2147483955" r:id="rId16"/>
  </p:sldMasterIdLst>
  <p:notesMasterIdLst>
    <p:notesMasterId r:id="rId25"/>
  </p:notesMasterIdLst>
  <p:sldIdLst>
    <p:sldId id="295" r:id="rId17"/>
    <p:sldId id="4811" r:id="rId18"/>
    <p:sldId id="4805" r:id="rId19"/>
    <p:sldId id="4806" r:id="rId20"/>
    <p:sldId id="4807" r:id="rId21"/>
    <p:sldId id="4808" r:id="rId22"/>
    <p:sldId id="4809" r:id="rId23"/>
    <p:sldId id="4812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773C"/>
    <a:srgbClr val="003896"/>
    <a:srgbClr val="800000"/>
    <a:srgbClr val="FFCCCC"/>
    <a:srgbClr val="F7FB57"/>
    <a:srgbClr val="84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6" d="100"/>
          <a:sy n="56" d="100"/>
        </p:scale>
        <p:origin x="976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83DD65-372B-43EB-9CA9-1550AEAB4154}" type="datetimeFigureOut">
              <a:rPr lang="en-ZA" smtClean="0"/>
              <a:t>2026/03/18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5F91C7-58DD-40BA-9D12-65A69859334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18862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F91C7-58DD-40BA-9D12-65A69859334A}" type="slidenum">
              <a:rPr lang="en-ZA" smtClean="0"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71600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7CA81-69BE-C6F7-713A-6F3E35C4C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B29095-0B59-EFB7-6855-73293342B4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F09D9E-AC39-E6B8-A069-36F7EFC442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55BECD-4E0B-F065-0214-DD15BD50B6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F91C7-58DD-40BA-9D12-65A69859334A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46470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D71EE9-0DA9-45B5-4BFA-8B2AF353E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E2EE23-D5F4-B479-31DE-C4E4DD3C56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B31769-D31F-B0B5-5A97-BFE9ECFF80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1D19EA-FC8D-CFD7-782B-3A96471295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F91C7-58DD-40BA-9D12-65A69859334A}" type="slidenum">
              <a:rPr lang="en-ZA" smtClean="0"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73595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A9E51-F552-B67A-09DD-DCBD22C4B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DE005-4B30-1FF4-C4F1-D3758FBAB0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3FA940-9323-2B79-EF77-2A6BEFB935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D41ED-7725-C813-CAA6-30225936D8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F91C7-58DD-40BA-9D12-65A69859334A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20125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E9F504-6D57-A55B-E3AA-C9662B178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E1DFD6-864A-EC83-854D-B983CBA3C6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CC6804-3E23-68FD-D1F8-E6D60BE516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28EFA-C4DD-8F02-4575-A14C5A6D4F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F91C7-58DD-40BA-9D12-65A69859334A}" type="slidenum">
              <a:rPr lang="en-ZA" smtClean="0"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46989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F5905-86E9-A88B-F775-B797AA97A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886A-C468-E985-D5A7-AC65C40B07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FDACE0-19EB-4089-AABE-D0CEC1D711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580922-605F-79D8-68D9-54A2F6B65D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5F91C7-58DD-40BA-9D12-65A69859334A}" type="slidenum">
              <a:rPr lang="en-ZA" smtClean="0"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0906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2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3.jpeg"/><Relationship Id="rId10" Type="http://schemas.openxmlformats.org/officeDocument/2006/relationships/image" Target="../media/image21.jpeg"/><Relationship Id="rId4" Type="http://schemas.openxmlformats.org/officeDocument/2006/relationships/image" Target="../media/image16.emf"/><Relationship Id="rId9" Type="http://schemas.openxmlformats.org/officeDocument/2006/relationships/image" Target="../media/image20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4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5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7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6.jpe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6.bin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1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3.jpeg"/><Relationship Id="rId10" Type="http://schemas.openxmlformats.org/officeDocument/2006/relationships/image" Target="../media/image21.jpeg"/><Relationship Id="rId4" Type="http://schemas.openxmlformats.org/officeDocument/2006/relationships/image" Target="../media/image16.emf"/><Relationship Id="rId9" Type="http://schemas.openxmlformats.org/officeDocument/2006/relationships/image" Target="../media/image20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4.jpe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43.jpeg"/><Relationship Id="rId5" Type="http://schemas.openxmlformats.org/officeDocument/2006/relationships/image" Target="../media/image12.jpeg"/><Relationship Id="rId4" Type="http://schemas.openxmlformats.org/officeDocument/2006/relationships/image" Target="../media/image42.jpe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3.jpeg"/><Relationship Id="rId10" Type="http://schemas.openxmlformats.org/officeDocument/2006/relationships/image" Target="../media/image21.jpeg"/><Relationship Id="rId4" Type="http://schemas.openxmlformats.org/officeDocument/2006/relationships/image" Target="../media/image16.emf"/><Relationship Id="rId9" Type="http://schemas.openxmlformats.org/officeDocument/2006/relationships/image" Target="../media/image2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4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4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4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3.jpeg"/><Relationship Id="rId10" Type="http://schemas.openxmlformats.org/officeDocument/2006/relationships/image" Target="../media/image21.jpeg"/><Relationship Id="rId4" Type="http://schemas.openxmlformats.org/officeDocument/2006/relationships/image" Target="../media/image16.emf"/><Relationship Id="rId9" Type="http://schemas.openxmlformats.org/officeDocument/2006/relationships/image" Target="../media/image2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84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96361930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0266014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3669" y="983136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>
            <a:off x="3280748" y="1809310"/>
            <a:ext cx="5878941" cy="3966755"/>
            <a:chOff x="1519" y="1117"/>
            <a:chExt cx="2722" cy="244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519" y="2691"/>
              <a:ext cx="2722" cy="875"/>
            </a:xfrm>
            <a:custGeom>
              <a:avLst/>
              <a:gdLst>
                <a:gd name="T0" fmla="*/ 0 w 2689"/>
                <a:gd name="T1" fmla="*/ 884 h 865"/>
                <a:gd name="T2" fmla="*/ 1377 w 2689"/>
                <a:gd name="T3" fmla="*/ 0 h 865"/>
                <a:gd name="T4" fmla="*/ 2754 w 2689"/>
                <a:gd name="T5" fmla="*/ 884 h 865"/>
                <a:gd name="T6" fmla="*/ 0 w 2689"/>
                <a:gd name="T7" fmla="*/ 884 h 8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89" h="865">
                  <a:moveTo>
                    <a:pt x="0" y="864"/>
                  </a:moveTo>
                  <a:lnTo>
                    <a:pt x="1344" y="0"/>
                  </a:lnTo>
                  <a:lnTo>
                    <a:pt x="2688" y="864"/>
                  </a:lnTo>
                  <a:lnTo>
                    <a:pt x="0" y="864"/>
                  </a:lnTo>
                </a:path>
              </a:pathLst>
            </a:custGeom>
            <a:solidFill>
              <a:schemeClr val="hlink"/>
            </a:solidFill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878" y="1117"/>
              <a:ext cx="1363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81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flipH="1">
              <a:off x="1519" y="1117"/>
              <a:ext cx="1362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79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1854998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kom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72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069984" y="2818907"/>
            <a:ext cx="4430557" cy="8430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" name="Picture 23" descr="dd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-6344" y="26"/>
            <a:ext cx="243416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43287684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/>
          <p:cNvSpPr>
            <a:spLocks noGrp="1" noChangeArrowheads="1"/>
          </p:cNvSpPr>
          <p:nvPr>
            <p:ph type="ftr" sz="quarter" idx="10"/>
          </p:nvPr>
        </p:nvSpPr>
        <p:spPr>
          <a:xfrm>
            <a:off x="4176254" y="6453231"/>
            <a:ext cx="3839633" cy="268287"/>
          </a:xfrm>
          <a:prstGeom prst="rect">
            <a:avLst/>
          </a:prstGeom>
          <a:ln/>
        </p:spPr>
        <p:txBody>
          <a:bodyPr lIns="91006" tIns="45505" rIns="91006" bIns="4550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600">
              <a:solidFill>
                <a:srgbClr val="003896"/>
              </a:solidFill>
            </a:endParaRPr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689F6-9125-41BE-8AC3-B9F4C130D05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8799746"/>
      </p:ext>
    </p:extLst>
  </p:cSld>
  <p:clrMapOvr>
    <a:masterClrMapping/>
  </p:clrMapOvr>
  <p:transition spd="slow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34" y="3175"/>
            <a:ext cx="1220046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856648506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FBDBC7-4CAC-499D-BE63-D80FE5839F7B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96C4E4-F781-410B-AD6C-1AF225F5EE3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01853225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5179E-160D-4F2D-A484-98ABB3DA84DA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B4095-EEFA-46AF-BC6B-98C1269B547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27257793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5DB70-379A-4965-BC43-84E19503D3E3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A9F7F9-0A64-439D-BDE5-981E9CB70AC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26492691"/>
      </p:ext>
    </p:extLst>
  </p:cSld>
  <p:clrMapOvr>
    <a:masterClrMapping/>
  </p:clrMapOvr>
  <p:transition spd="slow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CEDAC-DFD2-4059-B264-60F91C4EC6DC}" type="datetime3">
              <a:rPr lang="en-US" smtClean="0"/>
              <a:t>18 March 2026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16906-6D15-4023-97D0-5DBC5183686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57836323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B0A166-E3DC-40C0-A972-B42B234F5BBE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07EEC-A0ED-468E-ADF8-15CC7F28A5E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62424079"/>
      </p:ext>
    </p:extLst>
  </p:cSld>
  <p:clrMapOvr>
    <a:masterClrMapping/>
  </p:clrMapOvr>
  <p:transition spd="slow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BDB275-B583-4CF9-822D-76D15ACD5142}" type="datetime3">
              <a:rPr lang="en-US" smtClean="0"/>
              <a:t>18 March 2026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48F96-887E-4C04-8EB6-3A91172BC02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55688026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09815812"/>
      </p:ext>
    </p:extLst>
  </p:cSld>
  <p:clrMapOvr>
    <a:masterClrMapping/>
  </p:clrMapOvr>
  <p:transition spd="slow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18110C-E7B1-49F8-BFC7-B7B891831A87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644AE-FD6C-4354-A28D-BC243C7847C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672822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588280-456C-4CD9-9316-FA1D54EF9F71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15B70-D017-4207-BE36-A35C6712554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34075070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E6D33-3A0C-44B9-8CCB-0EF9DDC5E298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FD4E71-0C16-4E3D-82BE-35254DB99D2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76958010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88DF66-A7AC-42B9-900C-440C0F16FE41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15B8AD-4558-4958-818B-BEAD96C3C15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04847058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1D76C-573E-44E9-89C8-A0A570A29E87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5" y="6453243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1901A-5795-494A-8AC8-462401385D3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62988406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2238" y="168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38" y="168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Rectangle 145"/>
          <p:cNvSpPr/>
          <p:nvPr userDrawn="1"/>
        </p:nvSpPr>
        <p:spPr>
          <a:xfrm>
            <a:off x="75217" y="26"/>
            <a:ext cx="4078817" cy="6858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69590" tIns="34799" rIns="69590" bIns="34799" anchor="ctr"/>
          <a:lstStyle/>
          <a:p>
            <a:pPr algn="ctr">
              <a:defRPr/>
            </a:pPr>
            <a:endParaRPr lang="en-US" sz="1350" kern="0">
              <a:solidFill>
                <a:srgbClr val="FFFFFF"/>
              </a:solidFill>
            </a:endParaRPr>
          </a:p>
        </p:txBody>
      </p:sp>
      <p:grpSp>
        <p:nvGrpSpPr>
          <p:cNvPr id="197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198" name="Picture 23" descr="d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91"/>
            <p:cNvSpPr>
              <a:spLocks noChangeArrowheads="1"/>
            </p:cNvSpPr>
            <p:nvPr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pic>
          <p:nvPicPr>
            <p:cNvPr id="200" name="Picture 161" descr="logo small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438667" y="5164388"/>
            <a:ext cx="6714780" cy="377404"/>
            <a:chOff x="1663" y="3142"/>
            <a:chExt cx="3109" cy="23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438653" y="2283937"/>
            <a:ext cx="7047099" cy="4057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4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438653" y="4198173"/>
            <a:ext cx="7047099" cy="237246"/>
          </a:xfrm>
        </p:spPr>
        <p:txBody>
          <a:bodyPr wrap="square">
            <a:spAutoFit/>
          </a:bodyPr>
          <a:lstStyle>
            <a:lvl1pPr>
              <a:defRPr sz="105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147" name="Group 155"/>
          <p:cNvGrpSpPr>
            <a:grpSpLocks/>
          </p:cNvGrpSpPr>
          <p:nvPr userDrawn="1"/>
        </p:nvGrpSpPr>
        <p:grpSpPr bwMode="auto">
          <a:xfrm>
            <a:off x="342909" y="1201748"/>
            <a:ext cx="3310467" cy="2444750"/>
            <a:chOff x="162" y="757"/>
            <a:chExt cx="1564" cy="1540"/>
          </a:xfrm>
        </p:grpSpPr>
        <p:sp>
          <p:nvSpPr>
            <p:cNvPr id="148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49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50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51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52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sp>
        <p:nvSpPr>
          <p:cNvPr id="153" name="Oval 102"/>
          <p:cNvSpPr>
            <a:spLocks noChangeArrowheads="1"/>
          </p:cNvSpPr>
          <p:nvPr userDrawn="1"/>
        </p:nvSpPr>
        <p:spPr bwMode="auto">
          <a:xfrm>
            <a:off x="582159" y="1362093"/>
            <a:ext cx="2882900" cy="2173288"/>
          </a:xfrm>
          <a:prstGeom prst="ellipse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</p:spPr>
        <p:txBody>
          <a:bodyPr lIns="69590" tIns="34799" rIns="69590" bIns="3479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003896"/>
              </a:solidFill>
            </a:endParaRPr>
          </a:p>
        </p:txBody>
      </p:sp>
      <p:grpSp>
        <p:nvGrpSpPr>
          <p:cNvPr id="154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55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56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57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grpSp>
        <p:nvGrpSpPr>
          <p:cNvPr id="158" name="Group 146"/>
          <p:cNvGrpSpPr>
            <a:grpSpLocks/>
          </p:cNvGrpSpPr>
          <p:nvPr userDrawn="1"/>
        </p:nvGrpSpPr>
        <p:grpSpPr bwMode="auto">
          <a:xfrm>
            <a:off x="1217118" y="620736"/>
            <a:ext cx="1712383" cy="1260475"/>
            <a:chOff x="575" y="391"/>
            <a:chExt cx="809" cy="794"/>
          </a:xfrm>
        </p:grpSpPr>
        <p:sp>
          <p:nvSpPr>
            <p:cNvPr id="159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0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1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2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3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4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5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66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sp>
        <p:nvSpPr>
          <p:cNvPr id="167" name="Oval 118"/>
          <p:cNvSpPr>
            <a:spLocks noChangeArrowheads="1"/>
          </p:cNvSpPr>
          <p:nvPr userDrawn="1"/>
        </p:nvSpPr>
        <p:spPr bwMode="auto">
          <a:xfrm>
            <a:off x="1322917" y="657224"/>
            <a:ext cx="1481667" cy="1112838"/>
          </a:xfrm>
          <a:prstGeom prst="ellipse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</p:spPr>
        <p:txBody>
          <a:bodyPr lIns="69590" tIns="34799" rIns="69590" bIns="3479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50">
              <a:solidFill>
                <a:srgbClr val="003896"/>
              </a:solidFill>
            </a:endParaRPr>
          </a:p>
        </p:txBody>
      </p:sp>
      <p:grpSp>
        <p:nvGrpSpPr>
          <p:cNvPr id="168" name="Group 145"/>
          <p:cNvGrpSpPr>
            <a:grpSpLocks/>
          </p:cNvGrpSpPr>
          <p:nvPr userDrawn="1"/>
        </p:nvGrpSpPr>
        <p:grpSpPr bwMode="auto">
          <a:xfrm>
            <a:off x="1151483" y="620735"/>
            <a:ext cx="1826684" cy="1284287"/>
            <a:chOff x="544" y="391"/>
            <a:chExt cx="863" cy="809"/>
          </a:xfrm>
        </p:grpSpPr>
        <p:sp>
          <p:nvSpPr>
            <p:cNvPr id="169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0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1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grpSp>
        <p:nvGrpSpPr>
          <p:cNvPr id="172" name="Group 157"/>
          <p:cNvGrpSpPr>
            <a:grpSpLocks/>
          </p:cNvGrpSpPr>
          <p:nvPr userDrawn="1"/>
        </p:nvGrpSpPr>
        <p:grpSpPr bwMode="auto">
          <a:xfrm>
            <a:off x="442401" y="3090863"/>
            <a:ext cx="2766483" cy="2038350"/>
            <a:chOff x="209" y="1947"/>
            <a:chExt cx="1307" cy="1284"/>
          </a:xfrm>
        </p:grpSpPr>
        <p:sp>
          <p:nvSpPr>
            <p:cNvPr id="173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4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5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6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7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78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sp>
        <p:nvSpPr>
          <p:cNvPr id="179" name="Oval 128"/>
          <p:cNvSpPr>
            <a:spLocks noChangeArrowheads="1"/>
          </p:cNvSpPr>
          <p:nvPr userDrawn="1"/>
        </p:nvSpPr>
        <p:spPr bwMode="auto">
          <a:xfrm>
            <a:off x="643544" y="3227388"/>
            <a:ext cx="2402417" cy="1814512"/>
          </a:xfrm>
          <a:prstGeom prst="ellipse">
            <a:avLst/>
          </a:prstGeom>
          <a:blipFill dpi="0" rotWithShape="1">
            <a:blip r:embed="rId9">
              <a:alphaModFix amt="73000"/>
            </a:blip>
            <a:srcRect/>
            <a:stretch>
              <a:fillRect/>
            </a:stretch>
          </a:blipFill>
          <a:ln>
            <a:noFill/>
          </a:ln>
        </p:spPr>
        <p:txBody>
          <a:bodyPr lIns="69590" tIns="34799" rIns="69590" bIns="3479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750">
              <a:solidFill>
                <a:srgbClr val="C0C0C0"/>
              </a:solidFill>
            </a:endParaRPr>
          </a:p>
        </p:txBody>
      </p:sp>
      <p:grpSp>
        <p:nvGrpSpPr>
          <p:cNvPr id="180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181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82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83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grpSp>
        <p:nvGrpSpPr>
          <p:cNvPr id="184" name="Group 159"/>
          <p:cNvGrpSpPr>
            <a:grpSpLocks/>
          </p:cNvGrpSpPr>
          <p:nvPr userDrawn="1"/>
        </p:nvGrpSpPr>
        <p:grpSpPr bwMode="auto">
          <a:xfrm>
            <a:off x="1200228" y="4684722"/>
            <a:ext cx="2290233" cy="1692275"/>
            <a:chOff x="567" y="2951"/>
            <a:chExt cx="1082" cy="1066"/>
          </a:xfrm>
        </p:grpSpPr>
        <p:sp>
          <p:nvSpPr>
            <p:cNvPr id="185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86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87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88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89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90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sp>
        <p:nvSpPr>
          <p:cNvPr id="191" name="Oval 138"/>
          <p:cNvSpPr>
            <a:spLocks noChangeArrowheads="1"/>
          </p:cNvSpPr>
          <p:nvPr userDrawn="1"/>
        </p:nvSpPr>
        <p:spPr bwMode="auto">
          <a:xfrm>
            <a:off x="1352623" y="4746626"/>
            <a:ext cx="2008716" cy="1519238"/>
          </a:xfrm>
          <a:prstGeom prst="ellipse">
            <a:avLst/>
          </a:prstGeom>
          <a:blipFill dpi="0" rotWithShape="1">
            <a:blip r:embed="rId10"/>
            <a:srcRect/>
            <a:stretch>
              <a:fillRect/>
            </a:stretch>
          </a:blipFill>
          <a:ln>
            <a:noFill/>
          </a:ln>
        </p:spPr>
        <p:txBody>
          <a:bodyPr lIns="69590" tIns="34799" rIns="69590" bIns="3479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75">
              <a:solidFill>
                <a:srgbClr val="C0C0C0"/>
              </a:solidFill>
            </a:endParaRPr>
          </a:p>
        </p:txBody>
      </p:sp>
      <p:grpSp>
        <p:nvGrpSpPr>
          <p:cNvPr id="192" name="Group 160"/>
          <p:cNvGrpSpPr>
            <a:grpSpLocks/>
          </p:cNvGrpSpPr>
          <p:nvPr userDrawn="1"/>
        </p:nvGrpSpPr>
        <p:grpSpPr bwMode="auto">
          <a:xfrm>
            <a:off x="1117600" y="4684775"/>
            <a:ext cx="2438400" cy="1728787"/>
            <a:chOff x="528" y="2951"/>
            <a:chExt cx="1152" cy="1089"/>
          </a:xfrm>
        </p:grpSpPr>
        <p:sp>
          <p:nvSpPr>
            <p:cNvPr id="193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94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95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pic>
        <p:nvPicPr>
          <p:cNvPr id="196" name="Picture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273" y="5910272"/>
            <a:ext cx="436456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38411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8" y="26"/>
            <a:ext cx="407881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196" tIns="34100" rIns="68196" bIns="341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grpSp>
        <p:nvGrpSpPr>
          <p:cNvPr id="5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6" name="Picture 23" descr="dd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pic>
          <p:nvPicPr>
            <p:cNvPr id="8" name="Picture 161" descr="logo small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55"/>
          <p:cNvGrpSpPr>
            <a:grpSpLocks/>
          </p:cNvGrpSpPr>
          <p:nvPr userDrawn="1"/>
        </p:nvGrpSpPr>
        <p:grpSpPr bwMode="auto">
          <a:xfrm>
            <a:off x="342909" y="1201748"/>
            <a:ext cx="3310467" cy="2444750"/>
            <a:chOff x="162" y="757"/>
            <a:chExt cx="1564" cy="1540"/>
          </a:xfrm>
        </p:grpSpPr>
        <p:sp>
          <p:nvSpPr>
            <p:cNvPr id="10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11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12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13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14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sp>
        <p:nvSpPr>
          <p:cNvPr id="15" name="Oval 102" descr="DSC_4904"/>
          <p:cNvSpPr>
            <a:spLocks noChangeArrowheads="1"/>
          </p:cNvSpPr>
          <p:nvPr userDrawn="1"/>
        </p:nvSpPr>
        <p:spPr bwMode="auto">
          <a:xfrm>
            <a:off x="582159" y="1362093"/>
            <a:ext cx="2882900" cy="2173288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196" tIns="34100" rIns="68196" bIns="34100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750"/>
          </a:p>
        </p:txBody>
      </p:sp>
      <p:grpSp>
        <p:nvGrpSpPr>
          <p:cNvPr id="16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7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18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19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grpSp>
        <p:nvGrpSpPr>
          <p:cNvPr id="20" name="Group 146"/>
          <p:cNvGrpSpPr>
            <a:grpSpLocks/>
          </p:cNvGrpSpPr>
          <p:nvPr userDrawn="1"/>
        </p:nvGrpSpPr>
        <p:grpSpPr bwMode="auto">
          <a:xfrm>
            <a:off x="1217118" y="620736"/>
            <a:ext cx="1712383" cy="1260475"/>
            <a:chOff x="575" y="391"/>
            <a:chExt cx="809" cy="794"/>
          </a:xfrm>
        </p:grpSpPr>
        <p:sp>
          <p:nvSpPr>
            <p:cNvPr id="21" name="Oval 147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2" name="Oval 148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3" name="Oval 149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4" name="Oval 150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5" name="Oval 151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6" name="Oval 152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7" name="Oval 153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28" name="Oval 154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4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sp>
        <p:nvSpPr>
          <p:cNvPr id="29" name="Oval 118"/>
          <p:cNvSpPr>
            <a:spLocks noChangeArrowheads="1"/>
          </p:cNvSpPr>
          <p:nvPr userDrawn="1"/>
        </p:nvSpPr>
        <p:spPr bwMode="auto">
          <a:xfrm>
            <a:off x="1339853" y="706499"/>
            <a:ext cx="1481667" cy="1112837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196" tIns="34100" rIns="68196" bIns="34100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450"/>
          </a:p>
        </p:txBody>
      </p:sp>
      <p:grpSp>
        <p:nvGrpSpPr>
          <p:cNvPr id="30" name="Group 145"/>
          <p:cNvGrpSpPr>
            <a:grpSpLocks/>
          </p:cNvGrpSpPr>
          <p:nvPr userDrawn="1"/>
        </p:nvGrpSpPr>
        <p:grpSpPr bwMode="auto">
          <a:xfrm>
            <a:off x="1151483" y="620735"/>
            <a:ext cx="1826684" cy="1284287"/>
            <a:chOff x="544" y="391"/>
            <a:chExt cx="863" cy="809"/>
          </a:xfrm>
        </p:grpSpPr>
        <p:sp>
          <p:nvSpPr>
            <p:cNvPr id="31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32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33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1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grpSp>
        <p:nvGrpSpPr>
          <p:cNvPr id="34" name="Group 157"/>
          <p:cNvGrpSpPr>
            <a:grpSpLocks/>
          </p:cNvGrpSpPr>
          <p:nvPr userDrawn="1"/>
        </p:nvGrpSpPr>
        <p:grpSpPr bwMode="auto">
          <a:xfrm>
            <a:off x="442401" y="3090863"/>
            <a:ext cx="2766483" cy="2038350"/>
            <a:chOff x="209" y="1947"/>
            <a:chExt cx="1307" cy="1284"/>
          </a:xfrm>
        </p:grpSpPr>
        <p:sp>
          <p:nvSpPr>
            <p:cNvPr id="35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36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3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37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38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39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40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grpSp>
        <p:nvGrpSpPr>
          <p:cNvPr id="41" name="Oval 128"/>
          <p:cNvGrpSpPr>
            <a:grpSpLocks/>
          </p:cNvGrpSpPr>
          <p:nvPr userDrawn="1"/>
        </p:nvGrpSpPr>
        <p:grpSpPr bwMode="auto">
          <a:xfrm>
            <a:off x="635013" y="3219450"/>
            <a:ext cx="2421467" cy="1828800"/>
            <a:chOff x="300" y="2028"/>
            <a:chExt cx="1144" cy="1152"/>
          </a:xfrm>
        </p:grpSpPr>
        <p:pic>
          <p:nvPicPr>
            <p:cNvPr id="42" name="Oval 128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" y="2028"/>
              <a:ext cx="1144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Text Box 12"/>
            <p:cNvSpPr txBox="1">
              <a:spLocks noChangeArrowheads="1"/>
            </p:cNvSpPr>
            <p:nvPr/>
          </p:nvSpPr>
          <p:spPr bwMode="auto">
            <a:xfrm>
              <a:off x="470" y="2200"/>
              <a:ext cx="803" cy="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50">
                <a:solidFill>
                  <a:srgbClr val="C0C0C0"/>
                </a:solidFill>
              </a:endParaRPr>
            </a:p>
          </p:txBody>
        </p:sp>
      </p:grpSp>
      <p:grpSp>
        <p:nvGrpSpPr>
          <p:cNvPr id="44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45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46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47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grpSp>
        <p:nvGrpSpPr>
          <p:cNvPr id="48" name="Group 159"/>
          <p:cNvGrpSpPr>
            <a:grpSpLocks/>
          </p:cNvGrpSpPr>
          <p:nvPr userDrawn="1"/>
        </p:nvGrpSpPr>
        <p:grpSpPr bwMode="auto">
          <a:xfrm>
            <a:off x="1200228" y="4684720"/>
            <a:ext cx="2290233" cy="1692275"/>
            <a:chOff x="567" y="2951"/>
            <a:chExt cx="1082" cy="1066"/>
          </a:xfrm>
        </p:grpSpPr>
        <p:sp>
          <p:nvSpPr>
            <p:cNvPr id="4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5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3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5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5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5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5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grpSp>
        <p:nvGrpSpPr>
          <p:cNvPr id="55" name="Oval 138"/>
          <p:cNvGrpSpPr>
            <a:grpSpLocks/>
          </p:cNvGrpSpPr>
          <p:nvPr userDrawn="1"/>
        </p:nvGrpSpPr>
        <p:grpSpPr bwMode="auto">
          <a:xfrm>
            <a:off x="1341968" y="4784725"/>
            <a:ext cx="2032000" cy="1530350"/>
            <a:chOff x="634" y="3014"/>
            <a:chExt cx="960" cy="964"/>
          </a:xfrm>
        </p:grpSpPr>
        <p:pic>
          <p:nvPicPr>
            <p:cNvPr id="56" name="Oval 138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" y="3014"/>
              <a:ext cx="960" cy="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Text Box 17"/>
            <p:cNvSpPr txBox="1">
              <a:spLocks noChangeArrowheads="1"/>
            </p:cNvSpPr>
            <p:nvPr/>
          </p:nvSpPr>
          <p:spPr bwMode="auto">
            <a:xfrm>
              <a:off x="778" y="3158"/>
              <a:ext cx="671" cy="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675">
                <a:solidFill>
                  <a:srgbClr val="C0C0C0"/>
                </a:solidFill>
              </a:endParaRPr>
            </a:p>
          </p:txBody>
        </p:sp>
      </p:grpSp>
      <p:grpSp>
        <p:nvGrpSpPr>
          <p:cNvPr id="58" name="Group 160"/>
          <p:cNvGrpSpPr>
            <a:grpSpLocks/>
          </p:cNvGrpSpPr>
          <p:nvPr userDrawn="1"/>
        </p:nvGrpSpPr>
        <p:grpSpPr bwMode="auto">
          <a:xfrm>
            <a:off x="1117600" y="4684774"/>
            <a:ext cx="2438400" cy="1728787"/>
            <a:chOff x="528" y="2951"/>
            <a:chExt cx="1152" cy="1089"/>
          </a:xfrm>
        </p:grpSpPr>
        <p:sp>
          <p:nvSpPr>
            <p:cNvPr id="59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60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  <p:sp>
          <p:nvSpPr>
            <p:cNvPr id="61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350"/>
            </a:p>
          </p:txBody>
        </p:sp>
      </p:grpSp>
      <p:sp>
        <p:nvSpPr>
          <p:cNvPr id="5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165604" y="2130463"/>
            <a:ext cx="7112001" cy="2162175"/>
          </a:xfrm>
        </p:spPr>
        <p:txBody>
          <a:bodyPr/>
          <a:lstStyle>
            <a:lvl1pPr algn="ctr"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78895" y="4684736"/>
            <a:ext cx="7393516" cy="954087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2" name="Rectangle 37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41"/>
            <a:ext cx="2844800" cy="476250"/>
          </a:xfrm>
        </p:spPr>
        <p:txBody>
          <a:bodyPr/>
          <a:lstStyle>
            <a:lvl1pPr>
              <a:defRPr sz="75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A2F177EE-BEE2-4F3D-8F68-783F6558A4FC}" type="datetime1">
              <a:rPr lang="en-ZA"/>
              <a:pPr>
                <a:defRPr/>
              </a:pPr>
              <a:t>2026/03/18</a:t>
            </a:fld>
            <a:endParaRPr lang="en-ZA"/>
          </a:p>
        </p:txBody>
      </p:sp>
      <p:sp>
        <p:nvSpPr>
          <p:cNvPr id="63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1" y="6245241"/>
            <a:ext cx="3860800" cy="476250"/>
          </a:xfrm>
          <a:prstGeom prst="rect">
            <a:avLst/>
          </a:prstGeom>
        </p:spPr>
        <p:txBody>
          <a:bodyPr lIns="92786" tIns="46398" rIns="92786" bIns="4639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3896"/>
              </a:solidFill>
            </a:endParaRPr>
          </a:p>
        </p:txBody>
      </p:sp>
      <p:sp>
        <p:nvSpPr>
          <p:cNvPr id="64" name="Rectangle 3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41"/>
            <a:ext cx="2844800" cy="476250"/>
          </a:xfrm>
        </p:spPr>
        <p:txBody>
          <a:bodyPr/>
          <a:lstStyle>
            <a:lvl1pPr algn="r">
              <a:defRPr sz="75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B5C77F55-BB69-4AFF-94BF-43BA7F0502A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34858482"/>
      </p:ext>
    </p:extLst>
  </p:cSld>
  <p:clrMapOvr>
    <a:masterClrMapping/>
  </p:clrMapOvr>
  <p:transition spd="slow">
    <p:fade/>
  </p:transition>
  <p:hf hdr="0" ftr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323" y="1268761"/>
            <a:ext cx="11172092" cy="5213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29085533"/>
      </p:ext>
    </p:extLst>
  </p:cSld>
  <p:clrMapOvr>
    <a:masterClrMapping/>
  </p:clrMapOvr>
  <p:transition spd="slow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5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0975" indent="0">
              <a:buNone/>
              <a:defRPr sz="1350"/>
            </a:lvl2pPr>
            <a:lvl3pPr marL="681959" indent="0">
              <a:buNone/>
              <a:defRPr sz="1200"/>
            </a:lvl3pPr>
            <a:lvl4pPr marL="1022937" indent="0">
              <a:buNone/>
              <a:defRPr sz="1050"/>
            </a:lvl4pPr>
            <a:lvl5pPr marL="1363916" indent="0">
              <a:buNone/>
              <a:defRPr sz="1050"/>
            </a:lvl5pPr>
            <a:lvl6pPr marL="1704893" indent="0">
              <a:buNone/>
              <a:defRPr sz="1050"/>
            </a:lvl6pPr>
            <a:lvl7pPr marL="2045876" indent="0">
              <a:buNone/>
              <a:defRPr sz="1050"/>
            </a:lvl7pPr>
            <a:lvl8pPr marL="2386855" indent="0">
              <a:buNone/>
              <a:defRPr sz="1050"/>
            </a:lvl8pPr>
            <a:lvl9pPr marL="2727832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9B704-B34B-479F-A06C-BC451AB2738B}" type="datetime1">
              <a:rPr lang="en-ZA"/>
              <a:pPr>
                <a:defRPr/>
              </a:pPr>
              <a:t>2026/03/18</a:t>
            </a:fld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EFCAC-3ACE-4AF3-AF26-F063C36430C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10968899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109" y="1436742"/>
            <a:ext cx="5484283" cy="5045075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75" y="1436742"/>
            <a:ext cx="5484284" cy="5045075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8D6A54-C36A-46DA-831C-4F597E8C082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25371162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6348" y="0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397937"/>
      </p:ext>
    </p:extLst>
  </p:cSld>
  <p:clrMapOvr>
    <a:masterClrMapping/>
  </p:clrMapOvr>
  <p:transition spd="slow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8" y="6453195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00878273"/>
      </p:ext>
    </p:extLst>
  </p:cSld>
  <p:clrMapOvr>
    <a:masterClrMapping/>
  </p:clrMapOvr>
  <p:transition spd="slow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and Tex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8" y="6453195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57071526"/>
      </p:ext>
    </p:extLst>
  </p:cSld>
  <p:clrMapOvr>
    <a:masterClrMapping/>
  </p:clrMapOvr>
  <p:transition spd="slow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 with Footnot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7404921" y="1589087"/>
            <a:ext cx="4359585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8" y="6453195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53332628"/>
      </p:ext>
    </p:extLst>
  </p:cSld>
  <p:clrMapOvr>
    <a:masterClrMapping/>
  </p:clrMapOvr>
  <p:transition spd="slow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8" y="6453195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15919675"/>
      </p:ext>
    </p:extLst>
  </p:cSld>
  <p:clrMapOvr>
    <a:masterClrMapping/>
  </p:clrMapOvr>
  <p:transition spd="slow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6220191" y="3351312"/>
            <a:ext cx="3429743" cy="22773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590" tIns="34799" rIns="69590" bIns="34799" anchor="ctr"/>
          <a:lstStyle>
            <a:lvl1pPr marL="342900" indent="-342900"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92088" indent="-188913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76238" indent="-182563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1500" indent="-193675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287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59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31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03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419" lvl="2" indent="0" fontAlgn="base">
              <a:spcAft>
                <a:spcPct val="0"/>
              </a:spcAft>
              <a:buFontTx/>
              <a:buNone/>
            </a:pPr>
            <a:endParaRPr lang="en-GB" altLang="en-US" sz="1050">
              <a:solidFill>
                <a:srgbClr val="003896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03669" y="932973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8" name="Oval 5"/>
          <p:cNvSpPr>
            <a:spLocks noChangeArrowheads="1"/>
          </p:cNvSpPr>
          <p:nvPr userDrawn="1"/>
        </p:nvSpPr>
        <p:spPr bwMode="auto">
          <a:xfrm>
            <a:off x="6513945" y="2763309"/>
            <a:ext cx="587463" cy="440571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590" tIns="34799" rIns="69590" bIns="34799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050" b="0" i="0">
              <a:solidFill>
                <a:srgbClr val="003896"/>
              </a:solidFill>
            </a:endParaRPr>
          </a:p>
        </p:txBody>
      </p:sp>
      <p:grpSp>
        <p:nvGrpSpPr>
          <p:cNvPr id="9" name="Group 6"/>
          <p:cNvGrpSpPr>
            <a:grpSpLocks/>
          </p:cNvGrpSpPr>
          <p:nvPr userDrawn="1"/>
        </p:nvGrpSpPr>
        <p:grpSpPr bwMode="auto">
          <a:xfrm>
            <a:off x="2889870" y="2492788"/>
            <a:ext cx="3436223" cy="3109910"/>
            <a:chOff x="1577" y="1539"/>
            <a:chExt cx="1591" cy="1920"/>
          </a:xfrm>
        </p:grpSpPr>
        <p:sp>
          <p:nvSpPr>
            <p:cNvPr id="10" name="Arc 7"/>
            <p:cNvSpPr>
              <a:spLocks/>
            </p:cNvSpPr>
            <p:nvPr/>
          </p:nvSpPr>
          <p:spPr bwMode="auto">
            <a:xfrm>
              <a:off x="1577" y="2573"/>
              <a:ext cx="538" cy="886"/>
            </a:xfrm>
            <a:custGeom>
              <a:avLst/>
              <a:gdLst>
                <a:gd name="T0" fmla="*/ 0 w 28334"/>
                <a:gd name="T1" fmla="*/ 2 h 21600"/>
                <a:gd name="T2" fmla="*/ 10 w 28334"/>
                <a:gd name="T3" fmla="*/ 36 h 21600"/>
                <a:gd name="T4" fmla="*/ 2 w 28334"/>
                <a:gd name="T5" fmla="*/ 36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334" h="21600" fill="none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</a:path>
                <a:path w="28334" h="21600" stroke="0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  <a:lnTo>
                    <a:pt x="6734" y="21600"/>
                  </a:lnTo>
                  <a:lnTo>
                    <a:pt x="-1" y="1076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1" name="Arc 8"/>
            <p:cNvSpPr>
              <a:spLocks/>
            </p:cNvSpPr>
            <p:nvPr/>
          </p:nvSpPr>
          <p:spPr bwMode="auto">
            <a:xfrm>
              <a:off x="2103" y="1539"/>
              <a:ext cx="1065" cy="1920"/>
            </a:xfrm>
            <a:custGeom>
              <a:avLst/>
              <a:gdLst>
                <a:gd name="T0" fmla="*/ 0 w 28293"/>
                <a:gd name="T1" fmla="*/ 170 h 21600"/>
                <a:gd name="T2" fmla="*/ 40 w 28293"/>
                <a:gd name="T3" fmla="*/ 8 h 21600"/>
                <a:gd name="T4" fmla="*/ 31 w 28293"/>
                <a:gd name="T5" fmla="*/ 17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293" h="21600" fill="none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</a:path>
                <a:path w="28293" h="21600" stroke="0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  <a:lnTo>
                    <a:pt x="21600" y="21600"/>
                  </a:lnTo>
                  <a:lnTo>
                    <a:pt x="0" y="21544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  <p:sp>
        <p:nvSpPr>
          <p:cNvPr id="12" name="Line 9"/>
          <p:cNvSpPr>
            <a:spLocks noChangeShapeType="1"/>
          </p:cNvSpPr>
          <p:nvPr userDrawn="1"/>
        </p:nvSpPr>
        <p:spPr bwMode="auto">
          <a:xfrm flipH="1">
            <a:off x="2790476" y="5753334"/>
            <a:ext cx="684652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590" tIns="34799" rIns="69590" bIns="347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100295"/>
      </p:ext>
    </p:extLst>
  </p:cSld>
  <p:clrMapOvr>
    <a:masterClrMapping/>
  </p:clrMapOvr>
  <p:transition spd="slow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Oval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339069" y="3131027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498" tIns="35621" rIns="68498" bIns="35621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050" b="0" i="0">
              <a:solidFill>
                <a:srgbClr val="003896"/>
              </a:solidFill>
            </a:endParaRPr>
          </a:p>
        </p:txBody>
      </p:sp>
      <p:sp>
        <p:nvSpPr>
          <p:cNvPr id="7" name="Oval 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183601" y="3131027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498" tIns="35621" rIns="68498" bIns="35621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050" b="0" i="0">
              <a:solidFill>
                <a:srgbClr val="003896"/>
              </a:solidFill>
            </a:endParaRPr>
          </a:p>
        </p:txBody>
      </p:sp>
      <p:sp>
        <p:nvSpPr>
          <p:cNvPr id="8" name="Oval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261335" y="1661918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498" tIns="35621" rIns="68498" bIns="35621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050" b="0" i="0">
              <a:solidFill>
                <a:srgbClr val="003896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331073" y="1003195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10" name="Freeform 7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207233" y="3130967"/>
            <a:ext cx="1971887" cy="1334670"/>
          </a:xfrm>
          <a:custGeom>
            <a:avLst/>
            <a:gdLst>
              <a:gd name="T0" fmla="*/ 262096340 w 913"/>
              <a:gd name="T1" fmla="*/ 579627938 h 815"/>
              <a:gd name="T2" fmla="*/ 378023568 w 913"/>
              <a:gd name="T3" fmla="*/ 692976809 h 815"/>
              <a:gd name="T4" fmla="*/ 498991110 w 913"/>
              <a:gd name="T5" fmla="*/ 832088028 h 815"/>
              <a:gd name="T6" fmla="*/ 619958651 w 913"/>
              <a:gd name="T7" fmla="*/ 991807840 h 815"/>
              <a:gd name="T8" fmla="*/ 725805250 w 913"/>
              <a:gd name="T9" fmla="*/ 1151527653 h 815"/>
              <a:gd name="T10" fmla="*/ 811490592 w 913"/>
              <a:gd name="T11" fmla="*/ 1311247465 h 815"/>
              <a:gd name="T12" fmla="*/ 879535628 w 913"/>
              <a:gd name="T13" fmla="*/ 1468389598 h 815"/>
              <a:gd name="T14" fmla="*/ 932458134 w 913"/>
              <a:gd name="T15" fmla="*/ 1617805114 h 815"/>
              <a:gd name="T16" fmla="*/ 972780648 w 913"/>
              <a:gd name="T17" fmla="*/ 1764644555 h 815"/>
              <a:gd name="T18" fmla="*/ 997982219 w 913"/>
              <a:gd name="T19" fmla="*/ 1903755774 h 815"/>
              <a:gd name="T20" fmla="*/ 1015624113 w 913"/>
              <a:gd name="T21" fmla="*/ 2011952497 h 815"/>
              <a:gd name="T22" fmla="*/ 1025704741 w 913"/>
              <a:gd name="T23" fmla="*/ 2076355958 h 815"/>
              <a:gd name="T24" fmla="*/ 1028224105 w 913"/>
              <a:gd name="T25" fmla="*/ 2096964552 h 815"/>
              <a:gd name="T26" fmla="*/ 1043345047 w 913"/>
              <a:gd name="T27" fmla="*/ 2086660255 h 815"/>
              <a:gd name="T28" fmla="*/ 1093748190 w 913"/>
              <a:gd name="T29" fmla="*/ 2058323438 h 815"/>
              <a:gd name="T30" fmla="*/ 1176914169 w 913"/>
              <a:gd name="T31" fmla="*/ 2011952497 h 815"/>
              <a:gd name="T32" fmla="*/ 1285280131 w 913"/>
              <a:gd name="T33" fmla="*/ 1947549036 h 815"/>
              <a:gd name="T34" fmla="*/ 1403728309 w 913"/>
              <a:gd name="T35" fmla="*/ 1857384833 h 815"/>
              <a:gd name="T36" fmla="*/ 1534776479 w 913"/>
              <a:gd name="T37" fmla="*/ 1746612036 h 815"/>
              <a:gd name="T38" fmla="*/ 1670864964 w 913"/>
              <a:gd name="T39" fmla="*/ 1615229040 h 815"/>
              <a:gd name="T40" fmla="*/ 1794351869 w 913"/>
              <a:gd name="T41" fmla="*/ 1470967278 h 815"/>
              <a:gd name="T42" fmla="*/ 1907759733 w 913"/>
              <a:gd name="T43" fmla="*/ 1313823539 h 815"/>
              <a:gd name="T44" fmla="*/ 2008566018 w 913"/>
              <a:gd name="T45" fmla="*/ 1146375504 h 815"/>
              <a:gd name="T46" fmla="*/ 2091730409 w 913"/>
              <a:gd name="T47" fmla="*/ 984079617 h 815"/>
              <a:gd name="T48" fmla="*/ 2147483646 w 913"/>
              <a:gd name="T49" fmla="*/ 829511953 h 815"/>
              <a:gd name="T50" fmla="*/ 2147483646 w 913"/>
              <a:gd name="T51" fmla="*/ 685248586 h 815"/>
              <a:gd name="T52" fmla="*/ 2147483646 w 913"/>
              <a:gd name="T53" fmla="*/ 556443270 h 815"/>
              <a:gd name="T54" fmla="*/ 2147483646 w 913"/>
              <a:gd name="T55" fmla="*/ 453397090 h 815"/>
              <a:gd name="T56" fmla="*/ 2147483646 w 913"/>
              <a:gd name="T57" fmla="*/ 370961110 h 815"/>
              <a:gd name="T58" fmla="*/ 2147483646 w 913"/>
              <a:gd name="T59" fmla="*/ 311711402 h 815"/>
              <a:gd name="T60" fmla="*/ 2147483646 w 913"/>
              <a:gd name="T61" fmla="*/ 273068684 h 815"/>
              <a:gd name="T62" fmla="*/ 2147483646 w 913"/>
              <a:gd name="T63" fmla="*/ 257612238 h 815"/>
              <a:gd name="T64" fmla="*/ 2147483646 w 913"/>
              <a:gd name="T65" fmla="*/ 249884016 h 815"/>
              <a:gd name="T66" fmla="*/ 2147483646 w 913"/>
              <a:gd name="T67" fmla="*/ 231851496 h 815"/>
              <a:gd name="T68" fmla="*/ 2147483646 w 913"/>
              <a:gd name="T69" fmla="*/ 200937000 h 815"/>
              <a:gd name="T70" fmla="*/ 2099291674 w 913"/>
              <a:gd name="T71" fmla="*/ 159719813 h 815"/>
              <a:gd name="T72" fmla="*/ 1985883810 w 913"/>
              <a:gd name="T73" fmla="*/ 118501020 h 815"/>
              <a:gd name="T74" fmla="*/ 1852316276 w 913"/>
              <a:gd name="T75" fmla="*/ 79859906 h 815"/>
              <a:gd name="T76" fmla="*/ 1696066535 w 913"/>
              <a:gd name="T77" fmla="*/ 41217188 h 815"/>
              <a:gd name="T78" fmla="*/ 1527215214 w 913"/>
              <a:gd name="T79" fmla="*/ 15456445 h 815"/>
              <a:gd name="T80" fmla="*/ 1345763902 w 913"/>
              <a:gd name="T81" fmla="*/ 2576074 h 815"/>
              <a:gd name="T82" fmla="*/ 1156752912 w 913"/>
              <a:gd name="T83" fmla="*/ 2576074 h 815"/>
              <a:gd name="T84" fmla="*/ 967740334 w 913"/>
              <a:gd name="T85" fmla="*/ 15456445 h 815"/>
              <a:gd name="T86" fmla="*/ 788809972 w 913"/>
              <a:gd name="T87" fmla="*/ 46370941 h 815"/>
              <a:gd name="T88" fmla="*/ 619958651 w 913"/>
              <a:gd name="T89" fmla="*/ 90164203 h 815"/>
              <a:gd name="T90" fmla="*/ 463708910 w 913"/>
              <a:gd name="T91" fmla="*/ 144263367 h 815"/>
              <a:gd name="T92" fmla="*/ 325101062 w 913"/>
              <a:gd name="T93" fmla="*/ 203513074 h 815"/>
              <a:gd name="T94" fmla="*/ 201612570 w 913"/>
              <a:gd name="T95" fmla="*/ 265340461 h 815"/>
              <a:gd name="T96" fmla="*/ 100806285 w 913"/>
              <a:gd name="T97" fmla="*/ 322015699 h 815"/>
              <a:gd name="T98" fmla="*/ 32762836 w 913"/>
              <a:gd name="T99" fmla="*/ 360656813 h 815"/>
              <a:gd name="T100" fmla="*/ 2520951 w 913"/>
              <a:gd name="T101" fmla="*/ 378690937 h 815"/>
              <a:gd name="T102" fmla="*/ 5040314 w 913"/>
              <a:gd name="T103" fmla="*/ 383843086 h 815"/>
              <a:gd name="T104" fmla="*/ 42843465 w 913"/>
              <a:gd name="T105" fmla="*/ 412179902 h 815"/>
              <a:gd name="T106" fmla="*/ 113407864 w 913"/>
              <a:gd name="T107" fmla="*/ 463702992 h 81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3" h="815">
                <a:moveTo>
                  <a:pt x="69" y="197"/>
                </a:moveTo>
                <a:lnTo>
                  <a:pt x="77" y="203"/>
                </a:lnTo>
                <a:lnTo>
                  <a:pt x="86" y="210"/>
                </a:lnTo>
                <a:lnTo>
                  <a:pt x="95" y="217"/>
                </a:lnTo>
                <a:lnTo>
                  <a:pt x="104" y="225"/>
                </a:lnTo>
                <a:lnTo>
                  <a:pt x="113" y="233"/>
                </a:lnTo>
                <a:lnTo>
                  <a:pt x="122" y="241"/>
                </a:lnTo>
                <a:lnTo>
                  <a:pt x="131" y="250"/>
                </a:lnTo>
                <a:lnTo>
                  <a:pt x="140" y="259"/>
                </a:lnTo>
                <a:lnTo>
                  <a:pt x="150" y="269"/>
                </a:lnTo>
                <a:lnTo>
                  <a:pt x="159" y="279"/>
                </a:lnTo>
                <a:lnTo>
                  <a:pt x="169" y="289"/>
                </a:lnTo>
                <a:lnTo>
                  <a:pt x="178" y="300"/>
                </a:lnTo>
                <a:lnTo>
                  <a:pt x="188" y="311"/>
                </a:lnTo>
                <a:lnTo>
                  <a:pt x="198" y="323"/>
                </a:lnTo>
                <a:lnTo>
                  <a:pt x="208" y="335"/>
                </a:lnTo>
                <a:lnTo>
                  <a:pt x="218" y="347"/>
                </a:lnTo>
                <a:lnTo>
                  <a:pt x="227" y="360"/>
                </a:lnTo>
                <a:lnTo>
                  <a:pt x="237" y="372"/>
                </a:lnTo>
                <a:lnTo>
                  <a:pt x="246" y="385"/>
                </a:lnTo>
                <a:lnTo>
                  <a:pt x="255" y="397"/>
                </a:lnTo>
                <a:lnTo>
                  <a:pt x="264" y="410"/>
                </a:lnTo>
                <a:lnTo>
                  <a:pt x="272" y="422"/>
                </a:lnTo>
                <a:lnTo>
                  <a:pt x="280" y="435"/>
                </a:lnTo>
                <a:lnTo>
                  <a:pt x="288" y="447"/>
                </a:lnTo>
                <a:lnTo>
                  <a:pt x="295" y="460"/>
                </a:lnTo>
                <a:lnTo>
                  <a:pt x="302" y="472"/>
                </a:lnTo>
                <a:lnTo>
                  <a:pt x="309" y="484"/>
                </a:lnTo>
                <a:lnTo>
                  <a:pt x="316" y="497"/>
                </a:lnTo>
                <a:lnTo>
                  <a:pt x="322" y="509"/>
                </a:lnTo>
                <a:lnTo>
                  <a:pt x="328" y="521"/>
                </a:lnTo>
                <a:lnTo>
                  <a:pt x="334" y="533"/>
                </a:lnTo>
                <a:lnTo>
                  <a:pt x="339" y="546"/>
                </a:lnTo>
                <a:lnTo>
                  <a:pt x="344" y="558"/>
                </a:lnTo>
                <a:lnTo>
                  <a:pt x="349" y="570"/>
                </a:lnTo>
                <a:lnTo>
                  <a:pt x="354" y="582"/>
                </a:lnTo>
                <a:lnTo>
                  <a:pt x="358" y="593"/>
                </a:lnTo>
                <a:lnTo>
                  <a:pt x="363" y="605"/>
                </a:lnTo>
                <a:lnTo>
                  <a:pt x="367" y="617"/>
                </a:lnTo>
                <a:lnTo>
                  <a:pt x="370" y="628"/>
                </a:lnTo>
                <a:lnTo>
                  <a:pt x="374" y="640"/>
                </a:lnTo>
                <a:lnTo>
                  <a:pt x="377" y="651"/>
                </a:lnTo>
                <a:lnTo>
                  <a:pt x="380" y="663"/>
                </a:lnTo>
                <a:lnTo>
                  <a:pt x="383" y="674"/>
                </a:lnTo>
                <a:lnTo>
                  <a:pt x="386" y="685"/>
                </a:lnTo>
                <a:lnTo>
                  <a:pt x="388" y="696"/>
                </a:lnTo>
                <a:lnTo>
                  <a:pt x="391" y="707"/>
                </a:lnTo>
                <a:lnTo>
                  <a:pt x="393" y="718"/>
                </a:lnTo>
                <a:lnTo>
                  <a:pt x="394" y="728"/>
                </a:lnTo>
                <a:lnTo>
                  <a:pt x="396" y="739"/>
                </a:lnTo>
                <a:lnTo>
                  <a:pt x="398" y="748"/>
                </a:lnTo>
                <a:lnTo>
                  <a:pt x="399" y="757"/>
                </a:lnTo>
                <a:lnTo>
                  <a:pt x="400" y="766"/>
                </a:lnTo>
                <a:lnTo>
                  <a:pt x="402" y="773"/>
                </a:lnTo>
                <a:lnTo>
                  <a:pt x="403" y="781"/>
                </a:lnTo>
                <a:lnTo>
                  <a:pt x="404" y="787"/>
                </a:lnTo>
                <a:lnTo>
                  <a:pt x="404" y="793"/>
                </a:lnTo>
                <a:lnTo>
                  <a:pt x="405" y="798"/>
                </a:lnTo>
                <a:lnTo>
                  <a:pt x="406" y="802"/>
                </a:lnTo>
                <a:lnTo>
                  <a:pt x="407" y="806"/>
                </a:lnTo>
                <a:lnTo>
                  <a:pt x="407" y="809"/>
                </a:lnTo>
                <a:lnTo>
                  <a:pt x="407" y="811"/>
                </a:lnTo>
                <a:lnTo>
                  <a:pt x="408" y="813"/>
                </a:lnTo>
                <a:lnTo>
                  <a:pt x="408" y="814"/>
                </a:lnTo>
                <a:lnTo>
                  <a:pt x="409" y="813"/>
                </a:lnTo>
                <a:lnTo>
                  <a:pt x="410" y="813"/>
                </a:lnTo>
                <a:lnTo>
                  <a:pt x="412" y="812"/>
                </a:lnTo>
                <a:lnTo>
                  <a:pt x="414" y="810"/>
                </a:lnTo>
                <a:lnTo>
                  <a:pt x="417" y="809"/>
                </a:lnTo>
                <a:lnTo>
                  <a:pt x="421" y="807"/>
                </a:lnTo>
                <a:lnTo>
                  <a:pt x="425" y="805"/>
                </a:lnTo>
                <a:lnTo>
                  <a:pt x="429" y="802"/>
                </a:lnTo>
                <a:lnTo>
                  <a:pt x="434" y="799"/>
                </a:lnTo>
                <a:lnTo>
                  <a:pt x="440" y="796"/>
                </a:lnTo>
                <a:lnTo>
                  <a:pt x="446" y="793"/>
                </a:lnTo>
                <a:lnTo>
                  <a:pt x="452" y="789"/>
                </a:lnTo>
                <a:lnTo>
                  <a:pt x="459" y="786"/>
                </a:lnTo>
                <a:lnTo>
                  <a:pt x="467" y="781"/>
                </a:lnTo>
                <a:lnTo>
                  <a:pt x="475" y="777"/>
                </a:lnTo>
                <a:lnTo>
                  <a:pt x="484" y="772"/>
                </a:lnTo>
                <a:lnTo>
                  <a:pt x="492" y="767"/>
                </a:lnTo>
                <a:lnTo>
                  <a:pt x="501" y="761"/>
                </a:lnTo>
                <a:lnTo>
                  <a:pt x="510" y="756"/>
                </a:lnTo>
                <a:lnTo>
                  <a:pt x="519" y="749"/>
                </a:lnTo>
                <a:lnTo>
                  <a:pt x="529" y="743"/>
                </a:lnTo>
                <a:lnTo>
                  <a:pt x="538" y="736"/>
                </a:lnTo>
                <a:lnTo>
                  <a:pt x="548" y="729"/>
                </a:lnTo>
                <a:lnTo>
                  <a:pt x="557" y="721"/>
                </a:lnTo>
                <a:lnTo>
                  <a:pt x="567" y="713"/>
                </a:lnTo>
                <a:lnTo>
                  <a:pt x="578" y="705"/>
                </a:lnTo>
                <a:lnTo>
                  <a:pt x="588" y="696"/>
                </a:lnTo>
                <a:lnTo>
                  <a:pt x="598" y="687"/>
                </a:lnTo>
                <a:lnTo>
                  <a:pt x="609" y="678"/>
                </a:lnTo>
                <a:lnTo>
                  <a:pt x="620" y="668"/>
                </a:lnTo>
                <a:lnTo>
                  <a:pt x="630" y="658"/>
                </a:lnTo>
                <a:lnTo>
                  <a:pt x="641" y="648"/>
                </a:lnTo>
                <a:lnTo>
                  <a:pt x="652" y="637"/>
                </a:lnTo>
                <a:lnTo>
                  <a:pt x="663" y="627"/>
                </a:lnTo>
                <a:lnTo>
                  <a:pt x="673" y="616"/>
                </a:lnTo>
                <a:lnTo>
                  <a:pt x="683" y="605"/>
                </a:lnTo>
                <a:lnTo>
                  <a:pt x="693" y="594"/>
                </a:lnTo>
                <a:lnTo>
                  <a:pt x="703" y="582"/>
                </a:lnTo>
                <a:lnTo>
                  <a:pt x="712" y="571"/>
                </a:lnTo>
                <a:lnTo>
                  <a:pt x="722" y="559"/>
                </a:lnTo>
                <a:lnTo>
                  <a:pt x="731" y="547"/>
                </a:lnTo>
                <a:lnTo>
                  <a:pt x="740" y="535"/>
                </a:lnTo>
                <a:lnTo>
                  <a:pt x="749" y="522"/>
                </a:lnTo>
                <a:lnTo>
                  <a:pt x="757" y="510"/>
                </a:lnTo>
                <a:lnTo>
                  <a:pt x="766" y="497"/>
                </a:lnTo>
                <a:lnTo>
                  <a:pt x="774" y="484"/>
                </a:lnTo>
                <a:lnTo>
                  <a:pt x="782" y="471"/>
                </a:lnTo>
                <a:lnTo>
                  <a:pt x="790" y="458"/>
                </a:lnTo>
                <a:lnTo>
                  <a:pt x="797" y="445"/>
                </a:lnTo>
                <a:lnTo>
                  <a:pt x="804" y="432"/>
                </a:lnTo>
                <a:lnTo>
                  <a:pt x="811" y="420"/>
                </a:lnTo>
                <a:lnTo>
                  <a:pt x="818" y="407"/>
                </a:lnTo>
                <a:lnTo>
                  <a:pt x="824" y="395"/>
                </a:lnTo>
                <a:lnTo>
                  <a:pt x="830" y="382"/>
                </a:lnTo>
                <a:lnTo>
                  <a:pt x="836" y="370"/>
                </a:lnTo>
                <a:lnTo>
                  <a:pt x="841" y="358"/>
                </a:lnTo>
                <a:lnTo>
                  <a:pt x="846" y="346"/>
                </a:lnTo>
                <a:lnTo>
                  <a:pt x="851" y="334"/>
                </a:lnTo>
                <a:lnTo>
                  <a:pt x="856" y="322"/>
                </a:lnTo>
                <a:lnTo>
                  <a:pt x="860" y="311"/>
                </a:lnTo>
                <a:lnTo>
                  <a:pt x="864" y="299"/>
                </a:lnTo>
                <a:lnTo>
                  <a:pt x="868" y="288"/>
                </a:lnTo>
                <a:lnTo>
                  <a:pt x="871" y="277"/>
                </a:lnTo>
                <a:lnTo>
                  <a:pt x="874" y="266"/>
                </a:lnTo>
                <a:lnTo>
                  <a:pt x="877" y="255"/>
                </a:lnTo>
                <a:lnTo>
                  <a:pt x="880" y="245"/>
                </a:lnTo>
                <a:lnTo>
                  <a:pt x="883" y="235"/>
                </a:lnTo>
                <a:lnTo>
                  <a:pt x="885" y="226"/>
                </a:lnTo>
                <a:lnTo>
                  <a:pt x="887" y="216"/>
                </a:lnTo>
                <a:lnTo>
                  <a:pt x="890" y="208"/>
                </a:lnTo>
                <a:lnTo>
                  <a:pt x="892" y="199"/>
                </a:lnTo>
                <a:lnTo>
                  <a:pt x="894" y="191"/>
                </a:lnTo>
                <a:lnTo>
                  <a:pt x="896" y="183"/>
                </a:lnTo>
                <a:lnTo>
                  <a:pt x="897" y="176"/>
                </a:lnTo>
                <a:lnTo>
                  <a:pt x="899" y="169"/>
                </a:lnTo>
                <a:lnTo>
                  <a:pt x="900" y="162"/>
                </a:lnTo>
                <a:lnTo>
                  <a:pt x="901" y="156"/>
                </a:lnTo>
                <a:lnTo>
                  <a:pt x="903" y="150"/>
                </a:lnTo>
                <a:lnTo>
                  <a:pt x="904" y="144"/>
                </a:lnTo>
                <a:lnTo>
                  <a:pt x="904" y="139"/>
                </a:lnTo>
                <a:lnTo>
                  <a:pt x="905" y="134"/>
                </a:lnTo>
                <a:lnTo>
                  <a:pt x="906" y="129"/>
                </a:lnTo>
                <a:lnTo>
                  <a:pt x="907" y="125"/>
                </a:lnTo>
                <a:lnTo>
                  <a:pt x="907" y="121"/>
                </a:lnTo>
                <a:lnTo>
                  <a:pt x="908" y="117"/>
                </a:lnTo>
                <a:lnTo>
                  <a:pt x="909" y="114"/>
                </a:lnTo>
                <a:lnTo>
                  <a:pt x="909" y="111"/>
                </a:lnTo>
                <a:lnTo>
                  <a:pt x="910" y="109"/>
                </a:lnTo>
                <a:lnTo>
                  <a:pt x="910" y="106"/>
                </a:lnTo>
                <a:lnTo>
                  <a:pt x="910" y="104"/>
                </a:lnTo>
                <a:lnTo>
                  <a:pt x="911" y="103"/>
                </a:lnTo>
                <a:lnTo>
                  <a:pt x="911" y="101"/>
                </a:lnTo>
                <a:lnTo>
                  <a:pt x="911" y="100"/>
                </a:lnTo>
                <a:lnTo>
                  <a:pt x="912" y="100"/>
                </a:lnTo>
                <a:lnTo>
                  <a:pt x="912" y="99"/>
                </a:lnTo>
                <a:lnTo>
                  <a:pt x="911" y="99"/>
                </a:lnTo>
                <a:lnTo>
                  <a:pt x="910" y="98"/>
                </a:lnTo>
                <a:lnTo>
                  <a:pt x="909" y="97"/>
                </a:lnTo>
                <a:lnTo>
                  <a:pt x="907" y="96"/>
                </a:lnTo>
                <a:lnTo>
                  <a:pt x="904" y="95"/>
                </a:lnTo>
                <a:lnTo>
                  <a:pt x="902" y="94"/>
                </a:lnTo>
                <a:lnTo>
                  <a:pt x="898" y="92"/>
                </a:lnTo>
                <a:lnTo>
                  <a:pt x="895" y="90"/>
                </a:lnTo>
                <a:lnTo>
                  <a:pt x="891" y="88"/>
                </a:lnTo>
                <a:lnTo>
                  <a:pt x="886" y="86"/>
                </a:lnTo>
                <a:lnTo>
                  <a:pt x="881" y="84"/>
                </a:lnTo>
                <a:lnTo>
                  <a:pt x="875" y="81"/>
                </a:lnTo>
                <a:lnTo>
                  <a:pt x="869" y="78"/>
                </a:lnTo>
                <a:lnTo>
                  <a:pt x="863" y="75"/>
                </a:lnTo>
                <a:lnTo>
                  <a:pt x="856" y="72"/>
                </a:lnTo>
                <a:lnTo>
                  <a:pt x="849" y="69"/>
                </a:lnTo>
                <a:lnTo>
                  <a:pt x="841" y="65"/>
                </a:lnTo>
                <a:lnTo>
                  <a:pt x="833" y="62"/>
                </a:lnTo>
                <a:lnTo>
                  <a:pt x="825" y="59"/>
                </a:lnTo>
                <a:lnTo>
                  <a:pt x="816" y="56"/>
                </a:lnTo>
                <a:lnTo>
                  <a:pt x="807" y="52"/>
                </a:lnTo>
                <a:lnTo>
                  <a:pt x="798" y="49"/>
                </a:lnTo>
                <a:lnTo>
                  <a:pt x="788" y="46"/>
                </a:lnTo>
                <a:lnTo>
                  <a:pt x="778" y="43"/>
                </a:lnTo>
                <a:lnTo>
                  <a:pt x="768" y="40"/>
                </a:lnTo>
                <a:lnTo>
                  <a:pt x="757" y="37"/>
                </a:lnTo>
                <a:lnTo>
                  <a:pt x="746" y="34"/>
                </a:lnTo>
                <a:lnTo>
                  <a:pt x="735" y="31"/>
                </a:lnTo>
                <a:lnTo>
                  <a:pt x="723" y="28"/>
                </a:lnTo>
                <a:lnTo>
                  <a:pt x="711" y="25"/>
                </a:lnTo>
                <a:lnTo>
                  <a:pt x="699" y="22"/>
                </a:lnTo>
                <a:lnTo>
                  <a:pt x="686" y="19"/>
                </a:lnTo>
                <a:lnTo>
                  <a:pt x="673" y="16"/>
                </a:lnTo>
                <a:lnTo>
                  <a:pt x="660" y="14"/>
                </a:lnTo>
                <a:lnTo>
                  <a:pt x="647" y="12"/>
                </a:lnTo>
                <a:lnTo>
                  <a:pt x="633" y="10"/>
                </a:lnTo>
                <a:lnTo>
                  <a:pt x="620" y="8"/>
                </a:lnTo>
                <a:lnTo>
                  <a:pt x="606" y="6"/>
                </a:lnTo>
                <a:lnTo>
                  <a:pt x="592" y="5"/>
                </a:lnTo>
                <a:lnTo>
                  <a:pt x="578" y="4"/>
                </a:lnTo>
                <a:lnTo>
                  <a:pt x="564" y="3"/>
                </a:lnTo>
                <a:lnTo>
                  <a:pt x="549" y="2"/>
                </a:lnTo>
                <a:lnTo>
                  <a:pt x="534" y="1"/>
                </a:lnTo>
                <a:lnTo>
                  <a:pt x="520" y="1"/>
                </a:lnTo>
                <a:lnTo>
                  <a:pt x="505" y="0"/>
                </a:lnTo>
                <a:lnTo>
                  <a:pt x="489" y="0"/>
                </a:lnTo>
                <a:lnTo>
                  <a:pt x="474" y="1"/>
                </a:lnTo>
                <a:lnTo>
                  <a:pt x="459" y="1"/>
                </a:lnTo>
                <a:lnTo>
                  <a:pt x="443" y="2"/>
                </a:lnTo>
                <a:lnTo>
                  <a:pt x="428" y="2"/>
                </a:lnTo>
                <a:lnTo>
                  <a:pt x="413" y="4"/>
                </a:lnTo>
                <a:lnTo>
                  <a:pt x="399" y="5"/>
                </a:lnTo>
                <a:lnTo>
                  <a:pt x="384" y="6"/>
                </a:lnTo>
                <a:lnTo>
                  <a:pt x="370" y="8"/>
                </a:lnTo>
                <a:lnTo>
                  <a:pt x="355" y="10"/>
                </a:lnTo>
                <a:lnTo>
                  <a:pt x="341" y="13"/>
                </a:lnTo>
                <a:lnTo>
                  <a:pt x="327" y="15"/>
                </a:lnTo>
                <a:lnTo>
                  <a:pt x="313" y="18"/>
                </a:lnTo>
                <a:lnTo>
                  <a:pt x="300" y="21"/>
                </a:lnTo>
                <a:lnTo>
                  <a:pt x="286" y="24"/>
                </a:lnTo>
                <a:lnTo>
                  <a:pt x="273" y="28"/>
                </a:lnTo>
                <a:lnTo>
                  <a:pt x="259" y="31"/>
                </a:lnTo>
                <a:lnTo>
                  <a:pt x="246" y="35"/>
                </a:lnTo>
                <a:lnTo>
                  <a:pt x="233" y="39"/>
                </a:lnTo>
                <a:lnTo>
                  <a:pt x="221" y="44"/>
                </a:lnTo>
                <a:lnTo>
                  <a:pt x="208" y="48"/>
                </a:lnTo>
                <a:lnTo>
                  <a:pt x="196" y="52"/>
                </a:lnTo>
                <a:lnTo>
                  <a:pt x="184" y="56"/>
                </a:lnTo>
                <a:lnTo>
                  <a:pt x="173" y="61"/>
                </a:lnTo>
                <a:lnTo>
                  <a:pt x="161" y="65"/>
                </a:lnTo>
                <a:lnTo>
                  <a:pt x="150" y="70"/>
                </a:lnTo>
                <a:lnTo>
                  <a:pt x="139" y="74"/>
                </a:lnTo>
                <a:lnTo>
                  <a:pt x="129" y="79"/>
                </a:lnTo>
                <a:lnTo>
                  <a:pt x="118" y="84"/>
                </a:lnTo>
                <a:lnTo>
                  <a:pt x="108" y="88"/>
                </a:lnTo>
                <a:lnTo>
                  <a:pt x="99" y="93"/>
                </a:lnTo>
                <a:lnTo>
                  <a:pt x="89" y="98"/>
                </a:lnTo>
                <a:lnTo>
                  <a:pt x="80" y="103"/>
                </a:lnTo>
                <a:lnTo>
                  <a:pt x="71" y="108"/>
                </a:lnTo>
                <a:lnTo>
                  <a:pt x="62" y="113"/>
                </a:lnTo>
                <a:lnTo>
                  <a:pt x="54" y="117"/>
                </a:lnTo>
                <a:lnTo>
                  <a:pt x="47" y="121"/>
                </a:lnTo>
                <a:lnTo>
                  <a:pt x="40" y="125"/>
                </a:lnTo>
                <a:lnTo>
                  <a:pt x="33" y="129"/>
                </a:lnTo>
                <a:lnTo>
                  <a:pt x="27" y="132"/>
                </a:lnTo>
                <a:lnTo>
                  <a:pt x="22" y="135"/>
                </a:lnTo>
                <a:lnTo>
                  <a:pt x="17" y="138"/>
                </a:lnTo>
                <a:lnTo>
                  <a:pt x="13" y="140"/>
                </a:lnTo>
                <a:lnTo>
                  <a:pt x="10" y="142"/>
                </a:lnTo>
                <a:lnTo>
                  <a:pt x="7" y="144"/>
                </a:lnTo>
                <a:lnTo>
                  <a:pt x="4" y="145"/>
                </a:lnTo>
                <a:lnTo>
                  <a:pt x="2" y="146"/>
                </a:lnTo>
                <a:lnTo>
                  <a:pt x="1" y="147"/>
                </a:lnTo>
                <a:lnTo>
                  <a:pt x="0" y="148"/>
                </a:lnTo>
                <a:lnTo>
                  <a:pt x="1" y="149"/>
                </a:lnTo>
                <a:lnTo>
                  <a:pt x="2" y="149"/>
                </a:lnTo>
                <a:lnTo>
                  <a:pt x="4" y="151"/>
                </a:lnTo>
                <a:lnTo>
                  <a:pt x="6" y="153"/>
                </a:lnTo>
                <a:lnTo>
                  <a:pt x="9" y="155"/>
                </a:lnTo>
                <a:lnTo>
                  <a:pt x="13" y="157"/>
                </a:lnTo>
                <a:lnTo>
                  <a:pt x="17" y="160"/>
                </a:lnTo>
                <a:lnTo>
                  <a:pt x="21" y="163"/>
                </a:lnTo>
                <a:lnTo>
                  <a:pt x="27" y="167"/>
                </a:lnTo>
                <a:lnTo>
                  <a:pt x="32" y="171"/>
                </a:lnTo>
                <a:lnTo>
                  <a:pt x="38" y="175"/>
                </a:lnTo>
                <a:lnTo>
                  <a:pt x="45" y="180"/>
                </a:lnTo>
                <a:lnTo>
                  <a:pt x="53" y="185"/>
                </a:lnTo>
                <a:lnTo>
                  <a:pt x="60" y="191"/>
                </a:lnTo>
                <a:lnTo>
                  <a:pt x="69" y="197"/>
                </a:lnTo>
                <a:close/>
              </a:path>
            </a:pathLst>
          </a:custGeom>
          <a:solidFill>
            <a:srgbClr val="80808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69590" tIns="34799" rIns="69590" bIns="347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3896"/>
              </a:solidFill>
            </a:endParaRPr>
          </a:p>
        </p:txBody>
      </p:sp>
      <p:sp>
        <p:nvSpPr>
          <p:cNvPr id="11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261287" y="3130967"/>
            <a:ext cx="1958927" cy="1333050"/>
          </a:xfrm>
          <a:custGeom>
            <a:avLst/>
            <a:gdLst>
              <a:gd name="T0" fmla="*/ 2040924568 w 911"/>
              <a:gd name="T1" fmla="*/ 556456943 h 814"/>
              <a:gd name="T2" fmla="*/ 1938504703 w 911"/>
              <a:gd name="T3" fmla="*/ 656928358 h 814"/>
              <a:gd name="T4" fmla="*/ 1826091152 w 911"/>
              <a:gd name="T5" fmla="*/ 778010240 h 814"/>
              <a:gd name="T6" fmla="*/ 1708681549 w 911"/>
              <a:gd name="T7" fmla="*/ 922275488 h 814"/>
              <a:gd name="T8" fmla="*/ 1603762867 w 911"/>
              <a:gd name="T9" fmla="*/ 1079424485 h 814"/>
              <a:gd name="T10" fmla="*/ 1508836289 w 911"/>
              <a:gd name="T11" fmla="*/ 1249452416 h 814"/>
              <a:gd name="T12" fmla="*/ 1426399053 w 911"/>
              <a:gd name="T13" fmla="*/ 1429786383 h 814"/>
              <a:gd name="T14" fmla="*/ 1358951555 w 911"/>
              <a:gd name="T15" fmla="*/ 1599814314 h 814"/>
              <a:gd name="T16" fmla="*/ 1313985502 w 911"/>
              <a:gd name="T17" fmla="*/ 1756961705 h 814"/>
              <a:gd name="T18" fmla="*/ 1284009188 w 911"/>
              <a:gd name="T19" fmla="*/ 1898652450 h 814"/>
              <a:gd name="T20" fmla="*/ 1266522214 w 911"/>
              <a:gd name="T21" fmla="*/ 2006852189 h 814"/>
              <a:gd name="T22" fmla="*/ 1254032873 w 911"/>
              <a:gd name="T23" fmla="*/ 2073834202 h 814"/>
              <a:gd name="T24" fmla="*/ 1251534056 w 911"/>
              <a:gd name="T25" fmla="*/ 2094443064 h 814"/>
              <a:gd name="T26" fmla="*/ 1234047083 w 911"/>
              <a:gd name="T27" fmla="*/ 2084138633 h 814"/>
              <a:gd name="T28" fmla="*/ 1184086558 w 911"/>
              <a:gd name="T29" fmla="*/ 2055799842 h 814"/>
              <a:gd name="T30" fmla="*/ 1104148138 w 911"/>
              <a:gd name="T31" fmla="*/ 2009428296 h 814"/>
              <a:gd name="T32" fmla="*/ 996730640 w 911"/>
              <a:gd name="T33" fmla="*/ 1945023996 h 814"/>
              <a:gd name="T34" fmla="*/ 881819853 w 911"/>
              <a:gd name="T35" fmla="*/ 1857433120 h 814"/>
              <a:gd name="T36" fmla="*/ 754418145 w 911"/>
              <a:gd name="T37" fmla="*/ 1749233382 h 814"/>
              <a:gd name="T38" fmla="*/ 622020384 w 911"/>
              <a:gd name="T39" fmla="*/ 1620423176 h 814"/>
              <a:gd name="T40" fmla="*/ 499614728 w 911"/>
              <a:gd name="T41" fmla="*/ 1478734036 h 814"/>
              <a:gd name="T42" fmla="*/ 389699994 w 911"/>
              <a:gd name="T43" fmla="*/ 1324162752 h 814"/>
              <a:gd name="T44" fmla="*/ 294771836 w 911"/>
              <a:gd name="T45" fmla="*/ 1159285432 h 814"/>
              <a:gd name="T46" fmla="*/ 212336180 w 911"/>
              <a:gd name="T47" fmla="*/ 996985825 h 814"/>
              <a:gd name="T48" fmla="*/ 147385918 w 911"/>
              <a:gd name="T49" fmla="*/ 839838433 h 814"/>
              <a:gd name="T50" fmla="*/ 94926577 w 911"/>
              <a:gd name="T51" fmla="*/ 687843257 h 814"/>
              <a:gd name="T52" fmla="*/ 57455393 w 911"/>
              <a:gd name="T53" fmla="*/ 553880835 h 814"/>
              <a:gd name="T54" fmla="*/ 29976315 w 911"/>
              <a:gd name="T55" fmla="*/ 445681097 h 814"/>
              <a:gd name="T56" fmla="*/ 17486974 w 911"/>
              <a:gd name="T57" fmla="*/ 360666329 h 814"/>
              <a:gd name="T58" fmla="*/ 7494869 w 911"/>
              <a:gd name="T59" fmla="*/ 298838137 h 814"/>
              <a:gd name="T60" fmla="*/ 2498816 w 911"/>
              <a:gd name="T61" fmla="*/ 262771022 h 814"/>
              <a:gd name="T62" fmla="*/ 0 w 911"/>
              <a:gd name="T63" fmla="*/ 247314375 h 814"/>
              <a:gd name="T64" fmla="*/ 7494869 w 911"/>
              <a:gd name="T65" fmla="*/ 242162160 h 814"/>
              <a:gd name="T66" fmla="*/ 42467236 w 911"/>
              <a:gd name="T67" fmla="*/ 224127800 h 814"/>
              <a:gd name="T68" fmla="*/ 107417498 w 911"/>
              <a:gd name="T69" fmla="*/ 195790614 h 814"/>
              <a:gd name="T70" fmla="*/ 197348023 w 911"/>
              <a:gd name="T71" fmla="*/ 157147392 h 814"/>
              <a:gd name="T72" fmla="*/ 309761574 w 911"/>
              <a:gd name="T73" fmla="*/ 118504170 h 814"/>
              <a:gd name="T74" fmla="*/ 444656571 w 911"/>
              <a:gd name="T75" fmla="*/ 79862552 h 814"/>
              <a:gd name="T76" fmla="*/ 602036174 w 911"/>
              <a:gd name="T77" fmla="*/ 41219330 h 814"/>
              <a:gd name="T78" fmla="*/ 769406302 w 911"/>
              <a:gd name="T79" fmla="*/ 15456647 h 814"/>
              <a:gd name="T80" fmla="*/ 946770115 w 911"/>
              <a:gd name="T81" fmla="*/ 2576108 h 814"/>
              <a:gd name="T82" fmla="*/ 1136623270 w 911"/>
              <a:gd name="T83" fmla="*/ 2576108 h 814"/>
              <a:gd name="T84" fmla="*/ 1321480371 w 911"/>
              <a:gd name="T85" fmla="*/ 15456647 h 814"/>
              <a:gd name="T86" fmla="*/ 1498842604 w 911"/>
              <a:gd name="T87" fmla="*/ 46371546 h 814"/>
              <a:gd name="T88" fmla="*/ 1666214312 w 911"/>
              <a:gd name="T89" fmla="*/ 90166984 h 814"/>
              <a:gd name="T90" fmla="*/ 1818596283 w 911"/>
              <a:gd name="T91" fmla="*/ 144266853 h 814"/>
              <a:gd name="T92" fmla="*/ 1955990096 w 911"/>
              <a:gd name="T93" fmla="*/ 203518937 h 814"/>
              <a:gd name="T94" fmla="*/ 2075898516 w 911"/>
              <a:gd name="T95" fmla="*/ 265347130 h 814"/>
              <a:gd name="T96" fmla="*/ 2147483646 w 911"/>
              <a:gd name="T97" fmla="*/ 322023107 h 814"/>
              <a:gd name="T98" fmla="*/ 2147483646 w 911"/>
              <a:gd name="T99" fmla="*/ 360666329 h 814"/>
              <a:gd name="T100" fmla="*/ 2147483646 w 911"/>
              <a:gd name="T101" fmla="*/ 378700689 h 814"/>
              <a:gd name="T102" fmla="*/ 2147483646 w 911"/>
              <a:gd name="T103" fmla="*/ 383852905 h 814"/>
              <a:gd name="T104" fmla="*/ 2147483646 w 911"/>
              <a:gd name="T105" fmla="*/ 407037875 h 814"/>
              <a:gd name="T106" fmla="*/ 2147483646 w 911"/>
              <a:gd name="T107" fmla="*/ 453409421 h 81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1" h="814">
                <a:moveTo>
                  <a:pt x="849" y="191"/>
                </a:moveTo>
                <a:lnTo>
                  <a:pt x="841" y="197"/>
                </a:lnTo>
                <a:lnTo>
                  <a:pt x="833" y="203"/>
                </a:lnTo>
                <a:lnTo>
                  <a:pt x="825" y="209"/>
                </a:lnTo>
                <a:lnTo>
                  <a:pt x="817" y="216"/>
                </a:lnTo>
                <a:lnTo>
                  <a:pt x="809" y="223"/>
                </a:lnTo>
                <a:lnTo>
                  <a:pt x="801" y="230"/>
                </a:lnTo>
                <a:lnTo>
                  <a:pt x="793" y="238"/>
                </a:lnTo>
                <a:lnTo>
                  <a:pt x="784" y="246"/>
                </a:lnTo>
                <a:lnTo>
                  <a:pt x="776" y="255"/>
                </a:lnTo>
                <a:lnTo>
                  <a:pt x="767" y="263"/>
                </a:lnTo>
                <a:lnTo>
                  <a:pt x="758" y="273"/>
                </a:lnTo>
                <a:lnTo>
                  <a:pt x="749" y="282"/>
                </a:lnTo>
                <a:lnTo>
                  <a:pt x="740" y="292"/>
                </a:lnTo>
                <a:lnTo>
                  <a:pt x="731" y="302"/>
                </a:lnTo>
                <a:lnTo>
                  <a:pt x="721" y="313"/>
                </a:lnTo>
                <a:lnTo>
                  <a:pt x="712" y="324"/>
                </a:lnTo>
                <a:lnTo>
                  <a:pt x="703" y="335"/>
                </a:lnTo>
                <a:lnTo>
                  <a:pt x="693" y="346"/>
                </a:lnTo>
                <a:lnTo>
                  <a:pt x="684" y="358"/>
                </a:lnTo>
                <a:lnTo>
                  <a:pt x="675" y="370"/>
                </a:lnTo>
                <a:lnTo>
                  <a:pt x="667" y="382"/>
                </a:lnTo>
                <a:lnTo>
                  <a:pt x="658" y="394"/>
                </a:lnTo>
                <a:lnTo>
                  <a:pt x="650" y="407"/>
                </a:lnTo>
                <a:lnTo>
                  <a:pt x="642" y="419"/>
                </a:lnTo>
                <a:lnTo>
                  <a:pt x="634" y="432"/>
                </a:lnTo>
                <a:lnTo>
                  <a:pt x="626" y="445"/>
                </a:lnTo>
                <a:lnTo>
                  <a:pt x="618" y="458"/>
                </a:lnTo>
                <a:lnTo>
                  <a:pt x="611" y="471"/>
                </a:lnTo>
                <a:lnTo>
                  <a:pt x="604" y="485"/>
                </a:lnTo>
                <a:lnTo>
                  <a:pt x="597" y="499"/>
                </a:lnTo>
                <a:lnTo>
                  <a:pt x="590" y="513"/>
                </a:lnTo>
                <a:lnTo>
                  <a:pt x="583" y="527"/>
                </a:lnTo>
                <a:lnTo>
                  <a:pt x="577" y="541"/>
                </a:lnTo>
                <a:lnTo>
                  <a:pt x="571" y="555"/>
                </a:lnTo>
                <a:lnTo>
                  <a:pt x="565" y="569"/>
                </a:lnTo>
                <a:lnTo>
                  <a:pt x="559" y="582"/>
                </a:lnTo>
                <a:lnTo>
                  <a:pt x="554" y="595"/>
                </a:lnTo>
                <a:lnTo>
                  <a:pt x="549" y="609"/>
                </a:lnTo>
                <a:lnTo>
                  <a:pt x="544" y="621"/>
                </a:lnTo>
                <a:lnTo>
                  <a:pt x="540" y="634"/>
                </a:lnTo>
                <a:lnTo>
                  <a:pt x="536" y="646"/>
                </a:lnTo>
                <a:lnTo>
                  <a:pt x="532" y="659"/>
                </a:lnTo>
                <a:lnTo>
                  <a:pt x="529" y="671"/>
                </a:lnTo>
                <a:lnTo>
                  <a:pt x="526" y="682"/>
                </a:lnTo>
                <a:lnTo>
                  <a:pt x="523" y="694"/>
                </a:lnTo>
                <a:lnTo>
                  <a:pt x="520" y="705"/>
                </a:lnTo>
                <a:lnTo>
                  <a:pt x="518" y="716"/>
                </a:lnTo>
                <a:lnTo>
                  <a:pt x="516" y="727"/>
                </a:lnTo>
                <a:lnTo>
                  <a:pt x="514" y="737"/>
                </a:lnTo>
                <a:lnTo>
                  <a:pt x="512" y="747"/>
                </a:lnTo>
                <a:lnTo>
                  <a:pt x="511" y="756"/>
                </a:lnTo>
                <a:lnTo>
                  <a:pt x="510" y="765"/>
                </a:lnTo>
                <a:lnTo>
                  <a:pt x="508" y="772"/>
                </a:lnTo>
                <a:lnTo>
                  <a:pt x="507" y="779"/>
                </a:lnTo>
                <a:lnTo>
                  <a:pt x="506" y="786"/>
                </a:lnTo>
                <a:lnTo>
                  <a:pt x="505" y="791"/>
                </a:lnTo>
                <a:lnTo>
                  <a:pt x="504" y="797"/>
                </a:lnTo>
                <a:lnTo>
                  <a:pt x="503" y="801"/>
                </a:lnTo>
                <a:lnTo>
                  <a:pt x="502" y="805"/>
                </a:lnTo>
                <a:lnTo>
                  <a:pt x="502" y="808"/>
                </a:lnTo>
                <a:lnTo>
                  <a:pt x="501" y="810"/>
                </a:lnTo>
                <a:lnTo>
                  <a:pt x="501" y="812"/>
                </a:lnTo>
                <a:lnTo>
                  <a:pt x="501" y="813"/>
                </a:lnTo>
                <a:lnTo>
                  <a:pt x="500" y="813"/>
                </a:lnTo>
                <a:lnTo>
                  <a:pt x="499" y="812"/>
                </a:lnTo>
                <a:lnTo>
                  <a:pt x="498" y="812"/>
                </a:lnTo>
                <a:lnTo>
                  <a:pt x="496" y="811"/>
                </a:lnTo>
                <a:lnTo>
                  <a:pt x="494" y="809"/>
                </a:lnTo>
                <a:lnTo>
                  <a:pt x="491" y="808"/>
                </a:lnTo>
                <a:lnTo>
                  <a:pt x="487" y="806"/>
                </a:lnTo>
                <a:lnTo>
                  <a:pt x="483" y="804"/>
                </a:lnTo>
                <a:lnTo>
                  <a:pt x="479" y="801"/>
                </a:lnTo>
                <a:lnTo>
                  <a:pt x="474" y="798"/>
                </a:lnTo>
                <a:lnTo>
                  <a:pt x="469" y="795"/>
                </a:lnTo>
                <a:lnTo>
                  <a:pt x="463" y="792"/>
                </a:lnTo>
                <a:lnTo>
                  <a:pt x="456" y="788"/>
                </a:lnTo>
                <a:lnTo>
                  <a:pt x="449" y="785"/>
                </a:lnTo>
                <a:lnTo>
                  <a:pt x="442" y="780"/>
                </a:lnTo>
                <a:lnTo>
                  <a:pt x="434" y="776"/>
                </a:lnTo>
                <a:lnTo>
                  <a:pt x="425" y="771"/>
                </a:lnTo>
                <a:lnTo>
                  <a:pt x="417" y="766"/>
                </a:lnTo>
                <a:lnTo>
                  <a:pt x="408" y="760"/>
                </a:lnTo>
                <a:lnTo>
                  <a:pt x="399" y="755"/>
                </a:lnTo>
                <a:lnTo>
                  <a:pt x="390" y="749"/>
                </a:lnTo>
                <a:lnTo>
                  <a:pt x="381" y="742"/>
                </a:lnTo>
                <a:lnTo>
                  <a:pt x="372" y="735"/>
                </a:lnTo>
                <a:lnTo>
                  <a:pt x="362" y="728"/>
                </a:lnTo>
                <a:lnTo>
                  <a:pt x="353" y="721"/>
                </a:lnTo>
                <a:lnTo>
                  <a:pt x="343" y="713"/>
                </a:lnTo>
                <a:lnTo>
                  <a:pt x="333" y="705"/>
                </a:lnTo>
                <a:lnTo>
                  <a:pt x="323" y="696"/>
                </a:lnTo>
                <a:lnTo>
                  <a:pt x="312" y="688"/>
                </a:lnTo>
                <a:lnTo>
                  <a:pt x="302" y="679"/>
                </a:lnTo>
                <a:lnTo>
                  <a:pt x="291" y="669"/>
                </a:lnTo>
                <a:lnTo>
                  <a:pt x="280" y="659"/>
                </a:lnTo>
                <a:lnTo>
                  <a:pt x="270" y="649"/>
                </a:lnTo>
                <a:lnTo>
                  <a:pt x="259" y="639"/>
                </a:lnTo>
                <a:lnTo>
                  <a:pt x="249" y="629"/>
                </a:lnTo>
                <a:lnTo>
                  <a:pt x="239" y="618"/>
                </a:lnTo>
                <a:lnTo>
                  <a:pt x="229" y="607"/>
                </a:lnTo>
                <a:lnTo>
                  <a:pt x="219" y="596"/>
                </a:lnTo>
                <a:lnTo>
                  <a:pt x="209" y="585"/>
                </a:lnTo>
                <a:lnTo>
                  <a:pt x="200" y="574"/>
                </a:lnTo>
                <a:lnTo>
                  <a:pt x="191" y="562"/>
                </a:lnTo>
                <a:lnTo>
                  <a:pt x="182" y="551"/>
                </a:lnTo>
                <a:lnTo>
                  <a:pt x="173" y="539"/>
                </a:lnTo>
                <a:lnTo>
                  <a:pt x="164" y="526"/>
                </a:lnTo>
                <a:lnTo>
                  <a:pt x="156" y="514"/>
                </a:lnTo>
                <a:lnTo>
                  <a:pt x="148" y="502"/>
                </a:lnTo>
                <a:lnTo>
                  <a:pt x="140" y="489"/>
                </a:lnTo>
                <a:lnTo>
                  <a:pt x="132" y="476"/>
                </a:lnTo>
                <a:lnTo>
                  <a:pt x="125" y="463"/>
                </a:lnTo>
                <a:lnTo>
                  <a:pt x="118" y="450"/>
                </a:lnTo>
                <a:lnTo>
                  <a:pt x="111" y="437"/>
                </a:lnTo>
                <a:lnTo>
                  <a:pt x="104" y="424"/>
                </a:lnTo>
                <a:lnTo>
                  <a:pt x="97" y="412"/>
                </a:lnTo>
                <a:lnTo>
                  <a:pt x="91" y="399"/>
                </a:lnTo>
                <a:lnTo>
                  <a:pt x="85" y="387"/>
                </a:lnTo>
                <a:lnTo>
                  <a:pt x="79" y="374"/>
                </a:lnTo>
                <a:lnTo>
                  <a:pt x="74" y="362"/>
                </a:lnTo>
                <a:lnTo>
                  <a:pt x="68" y="350"/>
                </a:lnTo>
                <a:lnTo>
                  <a:pt x="63" y="338"/>
                </a:lnTo>
                <a:lnTo>
                  <a:pt x="59" y="326"/>
                </a:lnTo>
                <a:lnTo>
                  <a:pt x="54" y="314"/>
                </a:lnTo>
                <a:lnTo>
                  <a:pt x="50" y="302"/>
                </a:lnTo>
                <a:lnTo>
                  <a:pt x="46" y="290"/>
                </a:lnTo>
                <a:lnTo>
                  <a:pt x="42" y="278"/>
                </a:lnTo>
                <a:lnTo>
                  <a:pt x="38" y="267"/>
                </a:lnTo>
                <a:lnTo>
                  <a:pt x="35" y="255"/>
                </a:lnTo>
                <a:lnTo>
                  <a:pt x="32" y="245"/>
                </a:lnTo>
                <a:lnTo>
                  <a:pt x="28" y="234"/>
                </a:lnTo>
                <a:lnTo>
                  <a:pt x="26" y="224"/>
                </a:lnTo>
                <a:lnTo>
                  <a:pt x="23" y="215"/>
                </a:lnTo>
                <a:lnTo>
                  <a:pt x="20" y="206"/>
                </a:lnTo>
                <a:lnTo>
                  <a:pt x="18" y="197"/>
                </a:lnTo>
                <a:lnTo>
                  <a:pt x="16" y="188"/>
                </a:lnTo>
                <a:lnTo>
                  <a:pt x="14" y="180"/>
                </a:lnTo>
                <a:lnTo>
                  <a:pt x="12" y="173"/>
                </a:lnTo>
                <a:lnTo>
                  <a:pt x="11" y="165"/>
                </a:lnTo>
                <a:lnTo>
                  <a:pt x="9" y="158"/>
                </a:lnTo>
                <a:lnTo>
                  <a:pt x="8" y="152"/>
                </a:lnTo>
                <a:lnTo>
                  <a:pt x="7" y="146"/>
                </a:lnTo>
                <a:lnTo>
                  <a:pt x="7" y="140"/>
                </a:lnTo>
                <a:lnTo>
                  <a:pt x="6" y="135"/>
                </a:lnTo>
                <a:lnTo>
                  <a:pt x="5" y="130"/>
                </a:lnTo>
                <a:lnTo>
                  <a:pt x="5" y="125"/>
                </a:lnTo>
                <a:lnTo>
                  <a:pt x="4" y="120"/>
                </a:lnTo>
                <a:lnTo>
                  <a:pt x="3" y="116"/>
                </a:lnTo>
                <a:lnTo>
                  <a:pt x="3" y="113"/>
                </a:lnTo>
                <a:lnTo>
                  <a:pt x="2" y="110"/>
                </a:lnTo>
                <a:lnTo>
                  <a:pt x="2" y="107"/>
                </a:lnTo>
                <a:lnTo>
                  <a:pt x="2" y="104"/>
                </a:lnTo>
                <a:lnTo>
                  <a:pt x="1" y="102"/>
                </a:lnTo>
                <a:lnTo>
                  <a:pt x="1" y="100"/>
                </a:lnTo>
                <a:lnTo>
                  <a:pt x="1" y="98"/>
                </a:lnTo>
                <a:lnTo>
                  <a:pt x="0" y="97"/>
                </a:lnTo>
                <a:lnTo>
                  <a:pt x="0" y="96"/>
                </a:lnTo>
                <a:lnTo>
                  <a:pt x="0" y="95"/>
                </a:lnTo>
                <a:lnTo>
                  <a:pt x="1" y="95"/>
                </a:lnTo>
                <a:lnTo>
                  <a:pt x="2" y="94"/>
                </a:lnTo>
                <a:lnTo>
                  <a:pt x="3" y="94"/>
                </a:lnTo>
                <a:lnTo>
                  <a:pt x="5" y="93"/>
                </a:lnTo>
                <a:lnTo>
                  <a:pt x="7" y="92"/>
                </a:lnTo>
                <a:lnTo>
                  <a:pt x="10" y="91"/>
                </a:lnTo>
                <a:lnTo>
                  <a:pt x="14" y="89"/>
                </a:lnTo>
                <a:lnTo>
                  <a:pt x="17" y="87"/>
                </a:lnTo>
                <a:lnTo>
                  <a:pt x="22" y="86"/>
                </a:lnTo>
                <a:lnTo>
                  <a:pt x="26" y="83"/>
                </a:lnTo>
                <a:lnTo>
                  <a:pt x="31" y="81"/>
                </a:lnTo>
                <a:lnTo>
                  <a:pt x="37" y="79"/>
                </a:lnTo>
                <a:lnTo>
                  <a:pt x="43" y="76"/>
                </a:lnTo>
                <a:lnTo>
                  <a:pt x="49" y="73"/>
                </a:lnTo>
                <a:lnTo>
                  <a:pt x="56" y="70"/>
                </a:lnTo>
                <a:lnTo>
                  <a:pt x="64" y="67"/>
                </a:lnTo>
                <a:lnTo>
                  <a:pt x="71" y="64"/>
                </a:lnTo>
                <a:lnTo>
                  <a:pt x="79" y="61"/>
                </a:lnTo>
                <a:lnTo>
                  <a:pt x="88" y="58"/>
                </a:lnTo>
                <a:lnTo>
                  <a:pt x="96" y="55"/>
                </a:lnTo>
                <a:lnTo>
                  <a:pt x="105" y="52"/>
                </a:lnTo>
                <a:lnTo>
                  <a:pt x="115" y="49"/>
                </a:lnTo>
                <a:lnTo>
                  <a:pt x="124" y="46"/>
                </a:lnTo>
                <a:lnTo>
                  <a:pt x="135" y="43"/>
                </a:lnTo>
                <a:lnTo>
                  <a:pt x="145" y="40"/>
                </a:lnTo>
                <a:lnTo>
                  <a:pt x="156" y="37"/>
                </a:lnTo>
                <a:lnTo>
                  <a:pt x="167" y="34"/>
                </a:lnTo>
                <a:lnTo>
                  <a:pt x="178" y="31"/>
                </a:lnTo>
                <a:lnTo>
                  <a:pt x="190" y="28"/>
                </a:lnTo>
                <a:lnTo>
                  <a:pt x="202" y="25"/>
                </a:lnTo>
                <a:lnTo>
                  <a:pt x="215" y="22"/>
                </a:lnTo>
                <a:lnTo>
                  <a:pt x="228" y="19"/>
                </a:lnTo>
                <a:lnTo>
                  <a:pt x="241" y="16"/>
                </a:lnTo>
                <a:lnTo>
                  <a:pt x="254" y="14"/>
                </a:lnTo>
                <a:lnTo>
                  <a:pt x="267" y="12"/>
                </a:lnTo>
                <a:lnTo>
                  <a:pt x="281" y="10"/>
                </a:lnTo>
                <a:lnTo>
                  <a:pt x="294" y="8"/>
                </a:lnTo>
                <a:lnTo>
                  <a:pt x="308" y="6"/>
                </a:lnTo>
                <a:lnTo>
                  <a:pt x="322" y="5"/>
                </a:lnTo>
                <a:lnTo>
                  <a:pt x="336" y="3"/>
                </a:lnTo>
                <a:lnTo>
                  <a:pt x="350" y="2"/>
                </a:lnTo>
                <a:lnTo>
                  <a:pt x="365" y="2"/>
                </a:lnTo>
                <a:lnTo>
                  <a:pt x="379" y="1"/>
                </a:lnTo>
                <a:lnTo>
                  <a:pt x="394" y="1"/>
                </a:lnTo>
                <a:lnTo>
                  <a:pt x="409" y="0"/>
                </a:lnTo>
                <a:lnTo>
                  <a:pt x="424" y="0"/>
                </a:lnTo>
                <a:lnTo>
                  <a:pt x="440" y="0"/>
                </a:lnTo>
                <a:lnTo>
                  <a:pt x="455" y="1"/>
                </a:lnTo>
                <a:lnTo>
                  <a:pt x="470" y="1"/>
                </a:lnTo>
                <a:lnTo>
                  <a:pt x="485" y="2"/>
                </a:lnTo>
                <a:lnTo>
                  <a:pt x="500" y="3"/>
                </a:lnTo>
                <a:lnTo>
                  <a:pt x="514" y="5"/>
                </a:lnTo>
                <a:lnTo>
                  <a:pt x="529" y="6"/>
                </a:lnTo>
                <a:lnTo>
                  <a:pt x="543" y="8"/>
                </a:lnTo>
                <a:lnTo>
                  <a:pt x="558" y="10"/>
                </a:lnTo>
                <a:lnTo>
                  <a:pt x="572" y="13"/>
                </a:lnTo>
                <a:lnTo>
                  <a:pt x="586" y="15"/>
                </a:lnTo>
                <a:lnTo>
                  <a:pt x="600" y="18"/>
                </a:lnTo>
                <a:lnTo>
                  <a:pt x="613" y="21"/>
                </a:lnTo>
                <a:lnTo>
                  <a:pt x="627" y="24"/>
                </a:lnTo>
                <a:lnTo>
                  <a:pt x="640" y="28"/>
                </a:lnTo>
                <a:lnTo>
                  <a:pt x="654" y="31"/>
                </a:lnTo>
                <a:lnTo>
                  <a:pt x="667" y="35"/>
                </a:lnTo>
                <a:lnTo>
                  <a:pt x="680" y="39"/>
                </a:lnTo>
                <a:lnTo>
                  <a:pt x="692" y="44"/>
                </a:lnTo>
                <a:lnTo>
                  <a:pt x="705" y="48"/>
                </a:lnTo>
                <a:lnTo>
                  <a:pt x="717" y="52"/>
                </a:lnTo>
                <a:lnTo>
                  <a:pt x="728" y="56"/>
                </a:lnTo>
                <a:lnTo>
                  <a:pt x="740" y="61"/>
                </a:lnTo>
                <a:lnTo>
                  <a:pt x="751" y="65"/>
                </a:lnTo>
                <a:lnTo>
                  <a:pt x="762" y="70"/>
                </a:lnTo>
                <a:lnTo>
                  <a:pt x="773" y="74"/>
                </a:lnTo>
                <a:lnTo>
                  <a:pt x="783" y="79"/>
                </a:lnTo>
                <a:lnTo>
                  <a:pt x="794" y="84"/>
                </a:lnTo>
                <a:lnTo>
                  <a:pt x="803" y="88"/>
                </a:lnTo>
                <a:lnTo>
                  <a:pt x="813" y="93"/>
                </a:lnTo>
                <a:lnTo>
                  <a:pt x="822" y="98"/>
                </a:lnTo>
                <a:lnTo>
                  <a:pt x="831" y="103"/>
                </a:lnTo>
                <a:lnTo>
                  <a:pt x="840" y="108"/>
                </a:lnTo>
                <a:lnTo>
                  <a:pt x="849" y="112"/>
                </a:lnTo>
                <a:lnTo>
                  <a:pt x="856" y="117"/>
                </a:lnTo>
                <a:lnTo>
                  <a:pt x="864" y="121"/>
                </a:lnTo>
                <a:lnTo>
                  <a:pt x="871" y="125"/>
                </a:lnTo>
                <a:lnTo>
                  <a:pt x="877" y="129"/>
                </a:lnTo>
                <a:lnTo>
                  <a:pt x="882" y="132"/>
                </a:lnTo>
                <a:lnTo>
                  <a:pt x="888" y="135"/>
                </a:lnTo>
                <a:lnTo>
                  <a:pt x="892" y="137"/>
                </a:lnTo>
                <a:lnTo>
                  <a:pt x="896" y="140"/>
                </a:lnTo>
                <a:lnTo>
                  <a:pt x="900" y="142"/>
                </a:lnTo>
                <a:lnTo>
                  <a:pt x="903" y="143"/>
                </a:lnTo>
                <a:lnTo>
                  <a:pt x="905" y="145"/>
                </a:lnTo>
                <a:lnTo>
                  <a:pt x="907" y="146"/>
                </a:lnTo>
                <a:lnTo>
                  <a:pt x="908" y="147"/>
                </a:lnTo>
                <a:lnTo>
                  <a:pt x="909" y="147"/>
                </a:lnTo>
                <a:lnTo>
                  <a:pt x="910" y="147"/>
                </a:lnTo>
                <a:lnTo>
                  <a:pt x="909" y="147"/>
                </a:lnTo>
                <a:lnTo>
                  <a:pt x="909" y="148"/>
                </a:lnTo>
                <a:lnTo>
                  <a:pt x="907" y="149"/>
                </a:lnTo>
                <a:lnTo>
                  <a:pt x="906" y="150"/>
                </a:lnTo>
                <a:lnTo>
                  <a:pt x="904" y="152"/>
                </a:lnTo>
                <a:lnTo>
                  <a:pt x="901" y="153"/>
                </a:lnTo>
                <a:lnTo>
                  <a:pt x="898" y="156"/>
                </a:lnTo>
                <a:lnTo>
                  <a:pt x="894" y="158"/>
                </a:lnTo>
                <a:lnTo>
                  <a:pt x="890" y="161"/>
                </a:lnTo>
                <a:lnTo>
                  <a:pt x="886" y="164"/>
                </a:lnTo>
                <a:lnTo>
                  <a:pt x="881" y="168"/>
                </a:lnTo>
                <a:lnTo>
                  <a:pt x="875" y="172"/>
                </a:lnTo>
                <a:lnTo>
                  <a:pt x="869" y="176"/>
                </a:lnTo>
                <a:lnTo>
                  <a:pt x="863" y="181"/>
                </a:lnTo>
                <a:lnTo>
                  <a:pt x="856" y="186"/>
                </a:lnTo>
                <a:lnTo>
                  <a:pt x="849" y="19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590" tIns="34799" rIns="69590" bIns="347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3896"/>
              </a:solidFill>
            </a:endParaRPr>
          </a:p>
        </p:txBody>
      </p:sp>
      <p:sp>
        <p:nvSpPr>
          <p:cNvPr id="12" name="Freeform 9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5338997" y="3369069"/>
            <a:ext cx="1762387" cy="1256922"/>
          </a:xfrm>
          <a:custGeom>
            <a:avLst/>
            <a:gdLst>
              <a:gd name="T0" fmla="*/ 1270750843 w 815"/>
              <a:gd name="T1" fmla="*/ 181520868 h 765"/>
              <a:gd name="T2" fmla="*/ 1361699049 w 815"/>
              <a:gd name="T3" fmla="*/ 269687870 h 765"/>
              <a:gd name="T4" fmla="*/ 1455174477 w 815"/>
              <a:gd name="T5" fmla="*/ 373413850 h 765"/>
              <a:gd name="T6" fmla="*/ 1553701171 w 815"/>
              <a:gd name="T7" fmla="*/ 492698808 h 765"/>
              <a:gd name="T8" fmla="*/ 1652229453 w 815"/>
              <a:gd name="T9" fmla="*/ 624950116 h 765"/>
              <a:gd name="T10" fmla="*/ 1735599172 w 815"/>
              <a:gd name="T11" fmla="*/ 754607189 h 765"/>
              <a:gd name="T12" fmla="*/ 1808863182 w 815"/>
              <a:gd name="T13" fmla="*/ 881671635 h 765"/>
              <a:gd name="T14" fmla="*/ 1869494259 w 815"/>
              <a:gd name="T15" fmla="*/ 1006143455 h 765"/>
              <a:gd name="T16" fmla="*/ 1920021217 w 815"/>
              <a:gd name="T17" fmla="*/ 1130613665 h 765"/>
              <a:gd name="T18" fmla="*/ 1960444055 w 815"/>
              <a:gd name="T19" fmla="*/ 1249900233 h 765"/>
              <a:gd name="T20" fmla="*/ 1993285227 w 815"/>
              <a:gd name="T21" fmla="*/ 1369185190 h 765"/>
              <a:gd name="T22" fmla="*/ 2018549500 w 815"/>
              <a:gd name="T23" fmla="*/ 1483283285 h 765"/>
              <a:gd name="T24" fmla="*/ 2036233697 w 815"/>
              <a:gd name="T25" fmla="*/ 1589601892 h 765"/>
              <a:gd name="T26" fmla="*/ 2048865039 w 815"/>
              <a:gd name="T27" fmla="*/ 1667396779 h 765"/>
              <a:gd name="T28" fmla="*/ 2056445116 w 815"/>
              <a:gd name="T29" fmla="*/ 1716666338 h 765"/>
              <a:gd name="T30" fmla="*/ 2056445116 w 815"/>
              <a:gd name="T31" fmla="*/ 1734819552 h 765"/>
              <a:gd name="T32" fmla="*/ 2046339406 w 815"/>
              <a:gd name="T33" fmla="*/ 1737412178 h 765"/>
              <a:gd name="T34" fmla="*/ 2013496645 w 815"/>
              <a:gd name="T35" fmla="*/ 1750378529 h 765"/>
              <a:gd name="T36" fmla="*/ 1957916833 w 815"/>
              <a:gd name="T37" fmla="*/ 1773716996 h 765"/>
              <a:gd name="T38" fmla="*/ 1874547114 w 815"/>
              <a:gd name="T39" fmla="*/ 1810020203 h 765"/>
              <a:gd name="T40" fmla="*/ 1773493199 w 815"/>
              <a:gd name="T41" fmla="*/ 1854104509 h 765"/>
              <a:gd name="T42" fmla="*/ 1657282308 w 815"/>
              <a:gd name="T43" fmla="*/ 1893001953 h 765"/>
              <a:gd name="T44" fmla="*/ 1525912854 w 815"/>
              <a:gd name="T45" fmla="*/ 1924118298 h 765"/>
              <a:gd name="T46" fmla="*/ 1379384835 w 815"/>
              <a:gd name="T47" fmla="*/ 1950051001 h 765"/>
              <a:gd name="T48" fmla="*/ 1222751107 w 815"/>
              <a:gd name="T49" fmla="*/ 1970795230 h 765"/>
              <a:gd name="T50" fmla="*/ 1068643012 w 815"/>
              <a:gd name="T51" fmla="*/ 1981168956 h 765"/>
              <a:gd name="T52" fmla="*/ 914536506 w 815"/>
              <a:gd name="T53" fmla="*/ 1978574719 h 765"/>
              <a:gd name="T54" fmla="*/ 762955632 w 815"/>
              <a:gd name="T55" fmla="*/ 1965609978 h 765"/>
              <a:gd name="T56" fmla="*/ 613901981 w 815"/>
              <a:gd name="T57" fmla="*/ 1944864138 h 765"/>
              <a:gd name="T58" fmla="*/ 477479672 w 815"/>
              <a:gd name="T59" fmla="*/ 1913746183 h 765"/>
              <a:gd name="T60" fmla="*/ 351161482 w 815"/>
              <a:gd name="T61" fmla="*/ 1877442976 h 765"/>
              <a:gd name="T62" fmla="*/ 240003447 w 815"/>
              <a:gd name="T63" fmla="*/ 1835951295 h 765"/>
              <a:gd name="T64" fmla="*/ 141475164 w 815"/>
              <a:gd name="T65" fmla="*/ 1791868599 h 765"/>
              <a:gd name="T66" fmla="*/ 68211155 w 815"/>
              <a:gd name="T67" fmla="*/ 1758158018 h 765"/>
              <a:gd name="T68" fmla="*/ 22737052 w 815"/>
              <a:gd name="T69" fmla="*/ 1737412178 h 765"/>
              <a:gd name="T70" fmla="*/ 2525633 w 815"/>
              <a:gd name="T71" fmla="*/ 1729632689 h 765"/>
              <a:gd name="T72" fmla="*/ 0 w 815"/>
              <a:gd name="T73" fmla="*/ 1721853200 h 765"/>
              <a:gd name="T74" fmla="*/ 5052855 w 815"/>
              <a:gd name="T75" fmla="*/ 1688142619 h 765"/>
              <a:gd name="T76" fmla="*/ 15158564 w 815"/>
              <a:gd name="T77" fmla="*/ 1625906709 h 765"/>
              <a:gd name="T78" fmla="*/ 30315539 w 815"/>
              <a:gd name="T79" fmla="*/ 1535145470 h 765"/>
              <a:gd name="T80" fmla="*/ 50526958 w 815"/>
              <a:gd name="T81" fmla="*/ 1423640001 h 765"/>
              <a:gd name="T82" fmla="*/ 80842497 w 815"/>
              <a:gd name="T83" fmla="*/ 1306949280 h 765"/>
              <a:gd name="T84" fmla="*/ 121263745 w 815"/>
              <a:gd name="T85" fmla="*/ 1185070086 h 765"/>
              <a:gd name="T86" fmla="*/ 169265070 w 815"/>
              <a:gd name="T87" fmla="*/ 1058005640 h 765"/>
              <a:gd name="T88" fmla="*/ 224844883 w 815"/>
              <a:gd name="T89" fmla="*/ 930941194 h 765"/>
              <a:gd name="T90" fmla="*/ 293056037 w 815"/>
              <a:gd name="T91" fmla="*/ 801284121 h 765"/>
              <a:gd name="T92" fmla="*/ 371372901 w 815"/>
              <a:gd name="T93" fmla="*/ 674219675 h 765"/>
              <a:gd name="T94" fmla="*/ 459795475 w 815"/>
              <a:gd name="T95" fmla="*/ 547155229 h 765"/>
              <a:gd name="T96" fmla="*/ 555796536 w 815"/>
              <a:gd name="T97" fmla="*/ 425277645 h 765"/>
              <a:gd name="T98" fmla="*/ 651797597 w 815"/>
              <a:gd name="T99" fmla="*/ 318957429 h 765"/>
              <a:gd name="T100" fmla="*/ 742745803 w 815"/>
              <a:gd name="T101" fmla="*/ 228197800 h 765"/>
              <a:gd name="T102" fmla="*/ 833694009 w 815"/>
              <a:gd name="T103" fmla="*/ 152995539 h 765"/>
              <a:gd name="T104" fmla="*/ 914536506 w 815"/>
              <a:gd name="T105" fmla="*/ 90759629 h 765"/>
              <a:gd name="T106" fmla="*/ 975169173 w 815"/>
              <a:gd name="T107" fmla="*/ 44084306 h 765"/>
              <a:gd name="T108" fmla="*/ 1013064788 w 815"/>
              <a:gd name="T109" fmla="*/ 15558978 h 765"/>
              <a:gd name="T110" fmla="*/ 1028221763 w 815"/>
              <a:gd name="T111" fmla="*/ 2592626 h 765"/>
              <a:gd name="T112" fmla="*/ 1035801840 w 815"/>
              <a:gd name="T113" fmla="*/ 2592626 h 765"/>
              <a:gd name="T114" fmla="*/ 1061064524 w 815"/>
              <a:gd name="T115" fmla="*/ 23338466 h 765"/>
              <a:gd name="T116" fmla="*/ 1109065849 w 815"/>
              <a:gd name="T117" fmla="*/ 59643284 h 765"/>
              <a:gd name="T118" fmla="*/ 1182329859 w 815"/>
              <a:gd name="T119" fmla="*/ 111505469 h 76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15" h="765">
                <a:moveTo>
                  <a:pt x="476" y="49"/>
                </a:moveTo>
                <a:lnTo>
                  <a:pt x="485" y="56"/>
                </a:lnTo>
                <a:lnTo>
                  <a:pt x="494" y="63"/>
                </a:lnTo>
                <a:lnTo>
                  <a:pt x="503" y="70"/>
                </a:lnTo>
                <a:lnTo>
                  <a:pt x="511" y="78"/>
                </a:lnTo>
                <a:lnTo>
                  <a:pt x="521" y="86"/>
                </a:lnTo>
                <a:lnTo>
                  <a:pt x="530" y="95"/>
                </a:lnTo>
                <a:lnTo>
                  <a:pt x="539" y="104"/>
                </a:lnTo>
                <a:lnTo>
                  <a:pt x="548" y="113"/>
                </a:lnTo>
                <a:lnTo>
                  <a:pt x="557" y="123"/>
                </a:lnTo>
                <a:lnTo>
                  <a:pt x="567" y="133"/>
                </a:lnTo>
                <a:lnTo>
                  <a:pt x="576" y="144"/>
                </a:lnTo>
                <a:lnTo>
                  <a:pt x="586" y="155"/>
                </a:lnTo>
                <a:lnTo>
                  <a:pt x="596" y="166"/>
                </a:lnTo>
                <a:lnTo>
                  <a:pt x="605" y="178"/>
                </a:lnTo>
                <a:lnTo>
                  <a:pt x="615" y="190"/>
                </a:lnTo>
                <a:lnTo>
                  <a:pt x="625" y="203"/>
                </a:lnTo>
                <a:lnTo>
                  <a:pt x="635" y="215"/>
                </a:lnTo>
                <a:lnTo>
                  <a:pt x="644" y="228"/>
                </a:lnTo>
                <a:lnTo>
                  <a:pt x="654" y="241"/>
                </a:lnTo>
                <a:lnTo>
                  <a:pt x="662" y="253"/>
                </a:lnTo>
                <a:lnTo>
                  <a:pt x="671" y="266"/>
                </a:lnTo>
                <a:lnTo>
                  <a:pt x="679" y="278"/>
                </a:lnTo>
                <a:lnTo>
                  <a:pt x="687" y="291"/>
                </a:lnTo>
                <a:lnTo>
                  <a:pt x="695" y="303"/>
                </a:lnTo>
                <a:lnTo>
                  <a:pt x="702" y="315"/>
                </a:lnTo>
                <a:lnTo>
                  <a:pt x="709" y="328"/>
                </a:lnTo>
                <a:lnTo>
                  <a:pt x="716" y="340"/>
                </a:lnTo>
                <a:lnTo>
                  <a:pt x="723" y="352"/>
                </a:lnTo>
                <a:lnTo>
                  <a:pt x="729" y="364"/>
                </a:lnTo>
                <a:lnTo>
                  <a:pt x="735" y="376"/>
                </a:lnTo>
                <a:lnTo>
                  <a:pt x="740" y="388"/>
                </a:lnTo>
                <a:lnTo>
                  <a:pt x="745" y="400"/>
                </a:lnTo>
                <a:lnTo>
                  <a:pt x="750" y="412"/>
                </a:lnTo>
                <a:lnTo>
                  <a:pt x="755" y="424"/>
                </a:lnTo>
                <a:lnTo>
                  <a:pt x="760" y="436"/>
                </a:lnTo>
                <a:lnTo>
                  <a:pt x="764" y="448"/>
                </a:lnTo>
                <a:lnTo>
                  <a:pt x="768" y="459"/>
                </a:lnTo>
                <a:lnTo>
                  <a:pt x="772" y="471"/>
                </a:lnTo>
                <a:lnTo>
                  <a:pt x="776" y="482"/>
                </a:lnTo>
                <a:lnTo>
                  <a:pt x="780" y="494"/>
                </a:lnTo>
                <a:lnTo>
                  <a:pt x="783" y="505"/>
                </a:lnTo>
                <a:lnTo>
                  <a:pt x="786" y="517"/>
                </a:lnTo>
                <a:lnTo>
                  <a:pt x="789" y="528"/>
                </a:lnTo>
                <a:lnTo>
                  <a:pt x="792" y="539"/>
                </a:lnTo>
                <a:lnTo>
                  <a:pt x="795" y="550"/>
                </a:lnTo>
                <a:lnTo>
                  <a:pt x="797" y="561"/>
                </a:lnTo>
                <a:lnTo>
                  <a:pt x="799" y="572"/>
                </a:lnTo>
                <a:lnTo>
                  <a:pt x="801" y="583"/>
                </a:lnTo>
                <a:lnTo>
                  <a:pt x="803" y="594"/>
                </a:lnTo>
                <a:lnTo>
                  <a:pt x="805" y="604"/>
                </a:lnTo>
                <a:lnTo>
                  <a:pt x="806" y="613"/>
                </a:lnTo>
                <a:lnTo>
                  <a:pt x="808" y="622"/>
                </a:lnTo>
                <a:lnTo>
                  <a:pt x="809" y="629"/>
                </a:lnTo>
                <a:lnTo>
                  <a:pt x="810" y="636"/>
                </a:lnTo>
                <a:lnTo>
                  <a:pt x="811" y="643"/>
                </a:lnTo>
                <a:lnTo>
                  <a:pt x="812" y="649"/>
                </a:lnTo>
                <a:lnTo>
                  <a:pt x="813" y="654"/>
                </a:lnTo>
                <a:lnTo>
                  <a:pt x="813" y="658"/>
                </a:lnTo>
                <a:lnTo>
                  <a:pt x="814" y="662"/>
                </a:lnTo>
                <a:lnTo>
                  <a:pt x="814" y="664"/>
                </a:lnTo>
                <a:lnTo>
                  <a:pt x="814" y="667"/>
                </a:lnTo>
                <a:lnTo>
                  <a:pt x="814" y="668"/>
                </a:lnTo>
                <a:lnTo>
                  <a:pt x="814" y="669"/>
                </a:lnTo>
                <a:lnTo>
                  <a:pt x="813" y="669"/>
                </a:lnTo>
                <a:lnTo>
                  <a:pt x="812" y="669"/>
                </a:lnTo>
                <a:lnTo>
                  <a:pt x="810" y="670"/>
                </a:lnTo>
                <a:lnTo>
                  <a:pt x="808" y="671"/>
                </a:lnTo>
                <a:lnTo>
                  <a:pt x="805" y="672"/>
                </a:lnTo>
                <a:lnTo>
                  <a:pt x="801" y="673"/>
                </a:lnTo>
                <a:lnTo>
                  <a:pt x="797" y="675"/>
                </a:lnTo>
                <a:lnTo>
                  <a:pt x="792" y="677"/>
                </a:lnTo>
                <a:lnTo>
                  <a:pt x="787" y="679"/>
                </a:lnTo>
                <a:lnTo>
                  <a:pt x="781" y="681"/>
                </a:lnTo>
                <a:lnTo>
                  <a:pt x="775" y="684"/>
                </a:lnTo>
                <a:lnTo>
                  <a:pt x="767" y="687"/>
                </a:lnTo>
                <a:lnTo>
                  <a:pt x="760" y="691"/>
                </a:lnTo>
                <a:lnTo>
                  <a:pt x="751" y="694"/>
                </a:lnTo>
                <a:lnTo>
                  <a:pt x="742" y="698"/>
                </a:lnTo>
                <a:lnTo>
                  <a:pt x="733" y="702"/>
                </a:lnTo>
                <a:lnTo>
                  <a:pt x="723" y="707"/>
                </a:lnTo>
                <a:lnTo>
                  <a:pt x="713" y="711"/>
                </a:lnTo>
                <a:lnTo>
                  <a:pt x="702" y="715"/>
                </a:lnTo>
                <a:lnTo>
                  <a:pt x="691" y="719"/>
                </a:lnTo>
                <a:lnTo>
                  <a:pt x="679" y="722"/>
                </a:lnTo>
                <a:lnTo>
                  <a:pt x="668" y="726"/>
                </a:lnTo>
                <a:lnTo>
                  <a:pt x="656" y="730"/>
                </a:lnTo>
                <a:lnTo>
                  <a:pt x="643" y="733"/>
                </a:lnTo>
                <a:lnTo>
                  <a:pt x="630" y="736"/>
                </a:lnTo>
                <a:lnTo>
                  <a:pt x="617" y="739"/>
                </a:lnTo>
                <a:lnTo>
                  <a:pt x="604" y="742"/>
                </a:lnTo>
                <a:lnTo>
                  <a:pt x="590" y="745"/>
                </a:lnTo>
                <a:lnTo>
                  <a:pt x="575" y="748"/>
                </a:lnTo>
                <a:lnTo>
                  <a:pt x="561" y="750"/>
                </a:lnTo>
                <a:lnTo>
                  <a:pt x="546" y="752"/>
                </a:lnTo>
                <a:lnTo>
                  <a:pt x="531" y="755"/>
                </a:lnTo>
                <a:lnTo>
                  <a:pt x="515" y="757"/>
                </a:lnTo>
                <a:lnTo>
                  <a:pt x="500" y="759"/>
                </a:lnTo>
                <a:lnTo>
                  <a:pt x="484" y="760"/>
                </a:lnTo>
                <a:lnTo>
                  <a:pt x="469" y="761"/>
                </a:lnTo>
                <a:lnTo>
                  <a:pt x="454" y="762"/>
                </a:lnTo>
                <a:lnTo>
                  <a:pt x="438" y="763"/>
                </a:lnTo>
                <a:lnTo>
                  <a:pt x="423" y="764"/>
                </a:lnTo>
                <a:lnTo>
                  <a:pt x="408" y="764"/>
                </a:lnTo>
                <a:lnTo>
                  <a:pt x="392" y="764"/>
                </a:lnTo>
                <a:lnTo>
                  <a:pt x="377" y="764"/>
                </a:lnTo>
                <a:lnTo>
                  <a:pt x="362" y="763"/>
                </a:lnTo>
                <a:lnTo>
                  <a:pt x="347" y="762"/>
                </a:lnTo>
                <a:lnTo>
                  <a:pt x="332" y="761"/>
                </a:lnTo>
                <a:lnTo>
                  <a:pt x="317" y="760"/>
                </a:lnTo>
                <a:lnTo>
                  <a:pt x="302" y="758"/>
                </a:lnTo>
                <a:lnTo>
                  <a:pt x="287" y="756"/>
                </a:lnTo>
                <a:lnTo>
                  <a:pt x="272" y="754"/>
                </a:lnTo>
                <a:lnTo>
                  <a:pt x="257" y="752"/>
                </a:lnTo>
                <a:lnTo>
                  <a:pt x="243" y="750"/>
                </a:lnTo>
                <a:lnTo>
                  <a:pt x="229" y="747"/>
                </a:lnTo>
                <a:lnTo>
                  <a:pt x="215" y="744"/>
                </a:lnTo>
                <a:lnTo>
                  <a:pt x="202" y="741"/>
                </a:lnTo>
                <a:lnTo>
                  <a:pt x="189" y="738"/>
                </a:lnTo>
                <a:lnTo>
                  <a:pt x="176" y="735"/>
                </a:lnTo>
                <a:lnTo>
                  <a:pt x="164" y="732"/>
                </a:lnTo>
                <a:lnTo>
                  <a:pt x="151" y="728"/>
                </a:lnTo>
                <a:lnTo>
                  <a:pt x="139" y="724"/>
                </a:lnTo>
                <a:lnTo>
                  <a:pt x="128" y="721"/>
                </a:lnTo>
                <a:lnTo>
                  <a:pt x="116" y="716"/>
                </a:lnTo>
                <a:lnTo>
                  <a:pt x="105" y="712"/>
                </a:lnTo>
                <a:lnTo>
                  <a:pt x="95" y="708"/>
                </a:lnTo>
                <a:lnTo>
                  <a:pt x="84" y="703"/>
                </a:lnTo>
                <a:lnTo>
                  <a:pt x="74" y="699"/>
                </a:lnTo>
                <a:lnTo>
                  <a:pt x="65" y="695"/>
                </a:lnTo>
                <a:lnTo>
                  <a:pt x="56" y="691"/>
                </a:lnTo>
                <a:lnTo>
                  <a:pt x="48" y="687"/>
                </a:lnTo>
                <a:lnTo>
                  <a:pt x="40" y="684"/>
                </a:lnTo>
                <a:lnTo>
                  <a:pt x="34" y="681"/>
                </a:lnTo>
                <a:lnTo>
                  <a:pt x="27" y="678"/>
                </a:lnTo>
                <a:lnTo>
                  <a:pt x="22" y="675"/>
                </a:lnTo>
                <a:lnTo>
                  <a:pt x="17" y="673"/>
                </a:lnTo>
                <a:lnTo>
                  <a:pt x="13" y="672"/>
                </a:lnTo>
                <a:lnTo>
                  <a:pt x="9" y="670"/>
                </a:lnTo>
                <a:lnTo>
                  <a:pt x="6" y="669"/>
                </a:lnTo>
                <a:lnTo>
                  <a:pt x="3" y="668"/>
                </a:lnTo>
                <a:lnTo>
                  <a:pt x="2" y="667"/>
                </a:lnTo>
                <a:lnTo>
                  <a:pt x="1" y="667"/>
                </a:lnTo>
                <a:lnTo>
                  <a:pt x="0" y="667"/>
                </a:lnTo>
                <a:lnTo>
                  <a:pt x="0" y="666"/>
                </a:lnTo>
                <a:lnTo>
                  <a:pt x="0" y="664"/>
                </a:lnTo>
                <a:lnTo>
                  <a:pt x="0" y="662"/>
                </a:lnTo>
                <a:lnTo>
                  <a:pt x="1" y="659"/>
                </a:lnTo>
                <a:lnTo>
                  <a:pt x="1" y="655"/>
                </a:lnTo>
                <a:lnTo>
                  <a:pt x="2" y="651"/>
                </a:lnTo>
                <a:lnTo>
                  <a:pt x="3" y="646"/>
                </a:lnTo>
                <a:lnTo>
                  <a:pt x="4" y="640"/>
                </a:lnTo>
                <a:lnTo>
                  <a:pt x="5" y="634"/>
                </a:lnTo>
                <a:lnTo>
                  <a:pt x="6" y="627"/>
                </a:lnTo>
                <a:lnTo>
                  <a:pt x="7" y="619"/>
                </a:lnTo>
                <a:lnTo>
                  <a:pt x="9" y="611"/>
                </a:lnTo>
                <a:lnTo>
                  <a:pt x="10" y="602"/>
                </a:lnTo>
                <a:lnTo>
                  <a:pt x="12" y="592"/>
                </a:lnTo>
                <a:lnTo>
                  <a:pt x="14" y="582"/>
                </a:lnTo>
                <a:lnTo>
                  <a:pt x="16" y="571"/>
                </a:lnTo>
                <a:lnTo>
                  <a:pt x="18" y="560"/>
                </a:lnTo>
                <a:lnTo>
                  <a:pt x="20" y="549"/>
                </a:lnTo>
                <a:lnTo>
                  <a:pt x="23" y="538"/>
                </a:lnTo>
                <a:lnTo>
                  <a:pt x="26" y="527"/>
                </a:lnTo>
                <a:lnTo>
                  <a:pt x="29" y="515"/>
                </a:lnTo>
                <a:lnTo>
                  <a:pt x="32" y="504"/>
                </a:lnTo>
                <a:lnTo>
                  <a:pt x="36" y="492"/>
                </a:lnTo>
                <a:lnTo>
                  <a:pt x="40" y="481"/>
                </a:lnTo>
                <a:lnTo>
                  <a:pt x="44" y="469"/>
                </a:lnTo>
                <a:lnTo>
                  <a:pt x="48" y="457"/>
                </a:lnTo>
                <a:lnTo>
                  <a:pt x="52" y="445"/>
                </a:lnTo>
                <a:lnTo>
                  <a:pt x="57" y="433"/>
                </a:lnTo>
                <a:lnTo>
                  <a:pt x="62" y="421"/>
                </a:lnTo>
                <a:lnTo>
                  <a:pt x="67" y="408"/>
                </a:lnTo>
                <a:lnTo>
                  <a:pt x="72" y="396"/>
                </a:lnTo>
                <a:lnTo>
                  <a:pt x="77" y="383"/>
                </a:lnTo>
                <a:lnTo>
                  <a:pt x="83" y="371"/>
                </a:lnTo>
                <a:lnTo>
                  <a:pt x="89" y="359"/>
                </a:lnTo>
                <a:lnTo>
                  <a:pt x="95" y="346"/>
                </a:lnTo>
                <a:lnTo>
                  <a:pt x="102" y="334"/>
                </a:lnTo>
                <a:lnTo>
                  <a:pt x="109" y="321"/>
                </a:lnTo>
                <a:lnTo>
                  <a:pt x="116" y="309"/>
                </a:lnTo>
                <a:lnTo>
                  <a:pt x="123" y="297"/>
                </a:lnTo>
                <a:lnTo>
                  <a:pt x="131" y="284"/>
                </a:lnTo>
                <a:lnTo>
                  <a:pt x="139" y="272"/>
                </a:lnTo>
                <a:lnTo>
                  <a:pt x="147" y="260"/>
                </a:lnTo>
                <a:lnTo>
                  <a:pt x="155" y="248"/>
                </a:lnTo>
                <a:lnTo>
                  <a:pt x="164" y="236"/>
                </a:lnTo>
                <a:lnTo>
                  <a:pt x="173" y="223"/>
                </a:lnTo>
                <a:lnTo>
                  <a:pt x="182" y="211"/>
                </a:lnTo>
                <a:lnTo>
                  <a:pt x="192" y="199"/>
                </a:lnTo>
                <a:lnTo>
                  <a:pt x="201" y="187"/>
                </a:lnTo>
                <a:lnTo>
                  <a:pt x="211" y="176"/>
                </a:lnTo>
                <a:lnTo>
                  <a:pt x="220" y="164"/>
                </a:lnTo>
                <a:lnTo>
                  <a:pt x="230" y="154"/>
                </a:lnTo>
                <a:lnTo>
                  <a:pt x="239" y="143"/>
                </a:lnTo>
                <a:lnTo>
                  <a:pt x="249" y="133"/>
                </a:lnTo>
                <a:lnTo>
                  <a:pt x="258" y="123"/>
                </a:lnTo>
                <a:lnTo>
                  <a:pt x="267" y="114"/>
                </a:lnTo>
                <a:lnTo>
                  <a:pt x="276" y="105"/>
                </a:lnTo>
                <a:lnTo>
                  <a:pt x="285" y="96"/>
                </a:lnTo>
                <a:lnTo>
                  <a:pt x="294" y="88"/>
                </a:lnTo>
                <a:lnTo>
                  <a:pt x="303" y="80"/>
                </a:lnTo>
                <a:lnTo>
                  <a:pt x="312" y="73"/>
                </a:lnTo>
                <a:lnTo>
                  <a:pt x="321" y="65"/>
                </a:lnTo>
                <a:lnTo>
                  <a:pt x="330" y="59"/>
                </a:lnTo>
                <a:lnTo>
                  <a:pt x="339" y="52"/>
                </a:lnTo>
                <a:lnTo>
                  <a:pt x="347" y="46"/>
                </a:lnTo>
                <a:lnTo>
                  <a:pt x="355" y="40"/>
                </a:lnTo>
                <a:lnTo>
                  <a:pt x="362" y="35"/>
                </a:lnTo>
                <a:lnTo>
                  <a:pt x="369" y="30"/>
                </a:lnTo>
                <a:lnTo>
                  <a:pt x="375" y="25"/>
                </a:lnTo>
                <a:lnTo>
                  <a:pt x="381" y="21"/>
                </a:lnTo>
                <a:lnTo>
                  <a:pt x="386" y="17"/>
                </a:lnTo>
                <a:lnTo>
                  <a:pt x="391" y="14"/>
                </a:lnTo>
                <a:lnTo>
                  <a:pt x="395" y="11"/>
                </a:lnTo>
                <a:lnTo>
                  <a:pt x="398" y="8"/>
                </a:lnTo>
                <a:lnTo>
                  <a:pt x="401" y="6"/>
                </a:lnTo>
                <a:lnTo>
                  <a:pt x="403" y="4"/>
                </a:lnTo>
                <a:lnTo>
                  <a:pt x="405" y="3"/>
                </a:lnTo>
                <a:lnTo>
                  <a:pt x="406" y="1"/>
                </a:lnTo>
                <a:lnTo>
                  <a:pt x="407" y="1"/>
                </a:lnTo>
                <a:lnTo>
                  <a:pt x="407" y="0"/>
                </a:lnTo>
                <a:lnTo>
                  <a:pt x="408" y="0"/>
                </a:lnTo>
                <a:lnTo>
                  <a:pt x="408" y="1"/>
                </a:lnTo>
                <a:lnTo>
                  <a:pt x="410" y="1"/>
                </a:lnTo>
                <a:lnTo>
                  <a:pt x="411" y="3"/>
                </a:lnTo>
                <a:lnTo>
                  <a:pt x="414" y="4"/>
                </a:lnTo>
                <a:lnTo>
                  <a:pt x="417" y="6"/>
                </a:lnTo>
                <a:lnTo>
                  <a:pt x="420" y="9"/>
                </a:lnTo>
                <a:lnTo>
                  <a:pt x="424" y="12"/>
                </a:lnTo>
                <a:lnTo>
                  <a:pt x="429" y="15"/>
                </a:lnTo>
                <a:lnTo>
                  <a:pt x="434" y="19"/>
                </a:lnTo>
                <a:lnTo>
                  <a:pt x="439" y="23"/>
                </a:lnTo>
                <a:lnTo>
                  <a:pt x="446" y="27"/>
                </a:lnTo>
                <a:lnTo>
                  <a:pt x="452" y="32"/>
                </a:lnTo>
                <a:lnTo>
                  <a:pt x="460" y="38"/>
                </a:lnTo>
                <a:lnTo>
                  <a:pt x="468" y="43"/>
                </a:lnTo>
                <a:lnTo>
                  <a:pt x="476" y="49"/>
                </a:lnTo>
                <a:close/>
              </a:path>
            </a:pathLst>
          </a:cu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590" tIns="34799" rIns="69590" bIns="347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3896"/>
              </a:solidFill>
            </a:endParaRPr>
          </a:p>
        </p:txBody>
      </p:sp>
      <p:sp>
        <p:nvSpPr>
          <p:cNvPr id="13" name="Freeform 10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5339016" y="4467316"/>
            <a:ext cx="1771025" cy="1389741"/>
          </a:xfrm>
          <a:custGeom>
            <a:avLst/>
            <a:gdLst>
              <a:gd name="T0" fmla="*/ 313148603 w 829"/>
              <a:gd name="T1" fmla="*/ 128935752 h 865"/>
              <a:gd name="T2" fmla="*/ 466023359 w 829"/>
              <a:gd name="T3" fmla="*/ 173567721 h 865"/>
              <a:gd name="T4" fmla="*/ 636158473 w 829"/>
              <a:gd name="T5" fmla="*/ 208280951 h 865"/>
              <a:gd name="T6" fmla="*/ 823555514 w 829"/>
              <a:gd name="T7" fmla="*/ 233075440 h 865"/>
              <a:gd name="T8" fmla="*/ 1006018780 w 829"/>
              <a:gd name="T9" fmla="*/ 245474259 h 865"/>
              <a:gd name="T10" fmla="*/ 1183551414 w 829"/>
              <a:gd name="T11" fmla="*/ 240514101 h 865"/>
              <a:gd name="T12" fmla="*/ 1356153414 w 829"/>
              <a:gd name="T13" fmla="*/ 220678195 h 865"/>
              <a:gd name="T14" fmla="*/ 1521357894 w 829"/>
              <a:gd name="T15" fmla="*/ 185964966 h 865"/>
              <a:gd name="T16" fmla="*/ 1674232651 w 829"/>
              <a:gd name="T17" fmla="*/ 143813075 h 865"/>
              <a:gd name="T18" fmla="*/ 1817246141 w 829"/>
              <a:gd name="T19" fmla="*/ 86783861 h 865"/>
              <a:gd name="T20" fmla="*/ 1928204233 w 829"/>
              <a:gd name="T21" fmla="*/ 42151891 h 865"/>
              <a:gd name="T22" fmla="*/ 1994778774 w 829"/>
              <a:gd name="T23" fmla="*/ 14877323 h 865"/>
              <a:gd name="T24" fmla="*/ 2019435081 w 829"/>
              <a:gd name="T25" fmla="*/ 7438662 h 865"/>
              <a:gd name="T26" fmla="*/ 2021901968 w 829"/>
              <a:gd name="T27" fmla="*/ 27274568 h 865"/>
              <a:gd name="T28" fmla="*/ 2026832601 w 829"/>
              <a:gd name="T29" fmla="*/ 84303782 h 865"/>
              <a:gd name="T30" fmla="*/ 2034230122 w 829"/>
              <a:gd name="T31" fmla="*/ 181006383 h 865"/>
              <a:gd name="T32" fmla="*/ 2041627642 w 829"/>
              <a:gd name="T33" fmla="*/ 312420639 h 865"/>
              <a:gd name="T34" fmla="*/ 2031764805 w 829"/>
              <a:gd name="T35" fmla="*/ 466152454 h 865"/>
              <a:gd name="T36" fmla="*/ 2007106928 w 829"/>
              <a:gd name="T37" fmla="*/ 644678758 h 865"/>
              <a:gd name="T38" fmla="*/ 1965190264 w 829"/>
              <a:gd name="T39" fmla="*/ 840560890 h 865"/>
              <a:gd name="T40" fmla="*/ 1903546356 w 829"/>
              <a:gd name="T41" fmla="*/ 1031486013 h 865"/>
              <a:gd name="T42" fmla="*/ 1827108977 w 829"/>
              <a:gd name="T43" fmla="*/ 1217450979 h 865"/>
              <a:gd name="T44" fmla="*/ 1730944355 w 829"/>
              <a:gd name="T45" fmla="*/ 1395977283 h 865"/>
              <a:gd name="T46" fmla="*/ 1627383783 w 829"/>
              <a:gd name="T47" fmla="*/ 1559626264 h 865"/>
              <a:gd name="T48" fmla="*/ 1516425691 w 829"/>
              <a:gd name="T49" fmla="*/ 1705917843 h 865"/>
              <a:gd name="T50" fmla="*/ 1398070078 w 829"/>
              <a:gd name="T51" fmla="*/ 1834853594 h 865"/>
              <a:gd name="T52" fmla="*/ 1289578873 w 829"/>
              <a:gd name="T53" fmla="*/ 1938994857 h 865"/>
              <a:gd name="T54" fmla="*/ 1198346454 w 829"/>
              <a:gd name="T55" fmla="*/ 2020818560 h 865"/>
              <a:gd name="T56" fmla="*/ 1121909076 w 829"/>
              <a:gd name="T57" fmla="*/ 2075369270 h 865"/>
              <a:gd name="T58" fmla="*/ 1067662688 w 829"/>
              <a:gd name="T59" fmla="*/ 2112562578 h 865"/>
              <a:gd name="T60" fmla="*/ 1030676658 w 829"/>
              <a:gd name="T61" fmla="*/ 2134876989 h 865"/>
              <a:gd name="T62" fmla="*/ 1018348504 w 829"/>
              <a:gd name="T63" fmla="*/ 2142315650 h 865"/>
              <a:gd name="T64" fmla="*/ 1008485667 w 829"/>
              <a:gd name="T65" fmla="*/ 2134876989 h 865"/>
              <a:gd name="T66" fmla="*/ 969032750 w 829"/>
              <a:gd name="T67" fmla="*/ 2107602421 h 865"/>
              <a:gd name="T68" fmla="*/ 897527575 w 829"/>
              <a:gd name="T69" fmla="*/ 2055531790 h 865"/>
              <a:gd name="T70" fmla="*/ 801362953 w 829"/>
              <a:gd name="T71" fmla="*/ 1981146748 h 865"/>
              <a:gd name="T72" fmla="*/ 695337064 w 829"/>
              <a:gd name="T73" fmla="*/ 1886924226 h 865"/>
              <a:gd name="T74" fmla="*/ 584378972 w 829"/>
              <a:gd name="T75" fmla="*/ 1772865797 h 865"/>
              <a:gd name="T76" fmla="*/ 470955563 w 829"/>
              <a:gd name="T77" fmla="*/ 1636491384 h 865"/>
              <a:gd name="T78" fmla="*/ 364928104 w 829"/>
              <a:gd name="T79" fmla="*/ 1495158388 h 865"/>
              <a:gd name="T80" fmla="*/ 273695685 w 829"/>
              <a:gd name="T81" fmla="*/ 1346386730 h 865"/>
              <a:gd name="T82" fmla="*/ 197258307 w 829"/>
              <a:gd name="T83" fmla="*/ 1195134994 h 865"/>
              <a:gd name="T84" fmla="*/ 133149083 w 829"/>
              <a:gd name="T85" fmla="*/ 1036444596 h 865"/>
              <a:gd name="T86" fmla="*/ 83834898 w 829"/>
              <a:gd name="T87" fmla="*/ 877754198 h 865"/>
              <a:gd name="T88" fmla="*/ 44383551 w 829"/>
              <a:gd name="T89" fmla="*/ 716585296 h 865"/>
              <a:gd name="T90" fmla="*/ 17260357 w 829"/>
              <a:gd name="T91" fmla="*/ 555414819 h 865"/>
              <a:gd name="T92" fmla="*/ 4932204 w 829"/>
              <a:gd name="T93" fmla="*/ 401684578 h 865"/>
              <a:gd name="T94" fmla="*/ 0 w 829"/>
              <a:gd name="T95" fmla="*/ 255391424 h 865"/>
              <a:gd name="T96" fmla="*/ 4932204 w 829"/>
              <a:gd name="T97" fmla="*/ 126455673 h 865"/>
              <a:gd name="T98" fmla="*/ 7397520 w 829"/>
              <a:gd name="T99" fmla="*/ 42151891 h 865"/>
              <a:gd name="T100" fmla="*/ 9862837 w 829"/>
              <a:gd name="T101" fmla="*/ 2480079 h 865"/>
              <a:gd name="T102" fmla="*/ 17260357 w 829"/>
              <a:gd name="T103" fmla="*/ 2480079 h 865"/>
              <a:gd name="T104" fmla="*/ 59177021 w 829"/>
              <a:gd name="T105" fmla="*/ 22315985 h 865"/>
              <a:gd name="T106" fmla="*/ 140546603 w 829"/>
              <a:gd name="T107" fmla="*/ 57029214 h 86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29" h="865">
                <a:moveTo>
                  <a:pt x="85" y="35"/>
                </a:moveTo>
                <a:lnTo>
                  <a:pt x="95" y="40"/>
                </a:lnTo>
                <a:lnTo>
                  <a:pt x="105" y="44"/>
                </a:lnTo>
                <a:lnTo>
                  <a:pt x="116" y="48"/>
                </a:lnTo>
                <a:lnTo>
                  <a:pt x="127" y="52"/>
                </a:lnTo>
                <a:lnTo>
                  <a:pt x="139" y="56"/>
                </a:lnTo>
                <a:lnTo>
                  <a:pt x="151" y="59"/>
                </a:lnTo>
                <a:lnTo>
                  <a:pt x="163" y="63"/>
                </a:lnTo>
                <a:lnTo>
                  <a:pt x="176" y="66"/>
                </a:lnTo>
                <a:lnTo>
                  <a:pt x="189" y="70"/>
                </a:lnTo>
                <a:lnTo>
                  <a:pt x="202" y="73"/>
                </a:lnTo>
                <a:lnTo>
                  <a:pt x="215" y="76"/>
                </a:lnTo>
                <a:lnTo>
                  <a:pt x="229" y="79"/>
                </a:lnTo>
                <a:lnTo>
                  <a:pt x="243" y="81"/>
                </a:lnTo>
                <a:lnTo>
                  <a:pt x="258" y="84"/>
                </a:lnTo>
                <a:lnTo>
                  <a:pt x="273" y="86"/>
                </a:lnTo>
                <a:lnTo>
                  <a:pt x="288" y="89"/>
                </a:lnTo>
                <a:lnTo>
                  <a:pt x="303" y="91"/>
                </a:lnTo>
                <a:lnTo>
                  <a:pt x="319" y="93"/>
                </a:lnTo>
                <a:lnTo>
                  <a:pt x="334" y="94"/>
                </a:lnTo>
                <a:lnTo>
                  <a:pt x="349" y="96"/>
                </a:lnTo>
                <a:lnTo>
                  <a:pt x="364" y="97"/>
                </a:lnTo>
                <a:lnTo>
                  <a:pt x="379" y="98"/>
                </a:lnTo>
                <a:lnTo>
                  <a:pt x="393" y="98"/>
                </a:lnTo>
                <a:lnTo>
                  <a:pt x="408" y="99"/>
                </a:lnTo>
                <a:lnTo>
                  <a:pt x="423" y="99"/>
                </a:lnTo>
                <a:lnTo>
                  <a:pt x="437" y="99"/>
                </a:lnTo>
                <a:lnTo>
                  <a:pt x="452" y="98"/>
                </a:lnTo>
                <a:lnTo>
                  <a:pt x="466" y="98"/>
                </a:lnTo>
                <a:lnTo>
                  <a:pt x="480" y="97"/>
                </a:lnTo>
                <a:lnTo>
                  <a:pt x="495" y="96"/>
                </a:lnTo>
                <a:lnTo>
                  <a:pt x="509" y="94"/>
                </a:lnTo>
                <a:lnTo>
                  <a:pt x="523" y="93"/>
                </a:lnTo>
                <a:lnTo>
                  <a:pt x="537" y="91"/>
                </a:lnTo>
                <a:lnTo>
                  <a:pt x="550" y="89"/>
                </a:lnTo>
                <a:lnTo>
                  <a:pt x="564" y="86"/>
                </a:lnTo>
                <a:lnTo>
                  <a:pt x="577" y="84"/>
                </a:lnTo>
                <a:lnTo>
                  <a:pt x="591" y="81"/>
                </a:lnTo>
                <a:lnTo>
                  <a:pt x="604" y="78"/>
                </a:lnTo>
                <a:lnTo>
                  <a:pt x="617" y="75"/>
                </a:lnTo>
                <a:lnTo>
                  <a:pt x="630" y="72"/>
                </a:lnTo>
                <a:lnTo>
                  <a:pt x="642" y="69"/>
                </a:lnTo>
                <a:lnTo>
                  <a:pt x="655" y="65"/>
                </a:lnTo>
                <a:lnTo>
                  <a:pt x="667" y="62"/>
                </a:lnTo>
                <a:lnTo>
                  <a:pt x="679" y="58"/>
                </a:lnTo>
                <a:lnTo>
                  <a:pt x="691" y="53"/>
                </a:lnTo>
                <a:lnTo>
                  <a:pt x="703" y="49"/>
                </a:lnTo>
                <a:lnTo>
                  <a:pt x="715" y="45"/>
                </a:lnTo>
                <a:lnTo>
                  <a:pt x="726" y="40"/>
                </a:lnTo>
                <a:lnTo>
                  <a:pt x="737" y="35"/>
                </a:lnTo>
                <a:lnTo>
                  <a:pt x="748" y="31"/>
                </a:lnTo>
                <a:lnTo>
                  <a:pt x="758" y="27"/>
                </a:lnTo>
                <a:lnTo>
                  <a:pt x="767" y="23"/>
                </a:lnTo>
                <a:lnTo>
                  <a:pt x="775" y="20"/>
                </a:lnTo>
                <a:lnTo>
                  <a:pt x="782" y="17"/>
                </a:lnTo>
                <a:lnTo>
                  <a:pt x="789" y="14"/>
                </a:lnTo>
                <a:lnTo>
                  <a:pt x="795" y="12"/>
                </a:lnTo>
                <a:lnTo>
                  <a:pt x="801" y="9"/>
                </a:lnTo>
                <a:lnTo>
                  <a:pt x="805" y="8"/>
                </a:lnTo>
                <a:lnTo>
                  <a:pt x="809" y="6"/>
                </a:lnTo>
                <a:lnTo>
                  <a:pt x="813" y="5"/>
                </a:lnTo>
                <a:lnTo>
                  <a:pt x="815" y="4"/>
                </a:lnTo>
                <a:lnTo>
                  <a:pt x="817" y="3"/>
                </a:lnTo>
                <a:lnTo>
                  <a:pt x="818" y="3"/>
                </a:lnTo>
                <a:lnTo>
                  <a:pt x="819" y="3"/>
                </a:lnTo>
                <a:lnTo>
                  <a:pt x="819" y="4"/>
                </a:lnTo>
                <a:lnTo>
                  <a:pt x="819" y="6"/>
                </a:lnTo>
                <a:lnTo>
                  <a:pt x="819" y="8"/>
                </a:lnTo>
                <a:lnTo>
                  <a:pt x="820" y="11"/>
                </a:lnTo>
                <a:lnTo>
                  <a:pt x="820" y="14"/>
                </a:lnTo>
                <a:lnTo>
                  <a:pt x="820" y="18"/>
                </a:lnTo>
                <a:lnTo>
                  <a:pt x="821" y="23"/>
                </a:lnTo>
                <a:lnTo>
                  <a:pt x="821" y="28"/>
                </a:lnTo>
                <a:lnTo>
                  <a:pt x="822" y="34"/>
                </a:lnTo>
                <a:lnTo>
                  <a:pt x="822" y="41"/>
                </a:lnTo>
                <a:lnTo>
                  <a:pt x="823" y="48"/>
                </a:lnTo>
                <a:lnTo>
                  <a:pt x="824" y="56"/>
                </a:lnTo>
                <a:lnTo>
                  <a:pt x="825" y="64"/>
                </a:lnTo>
                <a:lnTo>
                  <a:pt x="825" y="73"/>
                </a:lnTo>
                <a:lnTo>
                  <a:pt x="826" y="83"/>
                </a:lnTo>
                <a:lnTo>
                  <a:pt x="827" y="93"/>
                </a:lnTo>
                <a:lnTo>
                  <a:pt x="828" y="104"/>
                </a:lnTo>
                <a:lnTo>
                  <a:pt x="828" y="115"/>
                </a:lnTo>
                <a:lnTo>
                  <a:pt x="828" y="126"/>
                </a:lnTo>
                <a:lnTo>
                  <a:pt x="828" y="138"/>
                </a:lnTo>
                <a:lnTo>
                  <a:pt x="827" y="150"/>
                </a:lnTo>
                <a:lnTo>
                  <a:pt x="826" y="162"/>
                </a:lnTo>
                <a:lnTo>
                  <a:pt x="825" y="175"/>
                </a:lnTo>
                <a:lnTo>
                  <a:pt x="824" y="188"/>
                </a:lnTo>
                <a:lnTo>
                  <a:pt x="822" y="202"/>
                </a:lnTo>
                <a:lnTo>
                  <a:pt x="821" y="216"/>
                </a:lnTo>
                <a:lnTo>
                  <a:pt x="819" y="230"/>
                </a:lnTo>
                <a:lnTo>
                  <a:pt x="816" y="245"/>
                </a:lnTo>
                <a:lnTo>
                  <a:pt x="814" y="260"/>
                </a:lnTo>
                <a:lnTo>
                  <a:pt x="811" y="275"/>
                </a:lnTo>
                <a:lnTo>
                  <a:pt x="808" y="291"/>
                </a:lnTo>
                <a:lnTo>
                  <a:pt x="804" y="307"/>
                </a:lnTo>
                <a:lnTo>
                  <a:pt x="801" y="323"/>
                </a:lnTo>
                <a:lnTo>
                  <a:pt x="797" y="339"/>
                </a:lnTo>
                <a:lnTo>
                  <a:pt x="792" y="354"/>
                </a:lnTo>
                <a:lnTo>
                  <a:pt x="788" y="370"/>
                </a:lnTo>
                <a:lnTo>
                  <a:pt x="783" y="385"/>
                </a:lnTo>
                <a:lnTo>
                  <a:pt x="778" y="401"/>
                </a:lnTo>
                <a:lnTo>
                  <a:pt x="772" y="416"/>
                </a:lnTo>
                <a:lnTo>
                  <a:pt x="767" y="431"/>
                </a:lnTo>
                <a:lnTo>
                  <a:pt x="761" y="446"/>
                </a:lnTo>
                <a:lnTo>
                  <a:pt x="754" y="461"/>
                </a:lnTo>
                <a:lnTo>
                  <a:pt x="748" y="476"/>
                </a:lnTo>
                <a:lnTo>
                  <a:pt x="741" y="491"/>
                </a:lnTo>
                <a:lnTo>
                  <a:pt x="734" y="506"/>
                </a:lnTo>
                <a:lnTo>
                  <a:pt x="726" y="520"/>
                </a:lnTo>
                <a:lnTo>
                  <a:pt x="718" y="535"/>
                </a:lnTo>
                <a:lnTo>
                  <a:pt x="710" y="549"/>
                </a:lnTo>
                <a:lnTo>
                  <a:pt x="702" y="563"/>
                </a:lnTo>
                <a:lnTo>
                  <a:pt x="694" y="577"/>
                </a:lnTo>
                <a:lnTo>
                  <a:pt x="686" y="590"/>
                </a:lnTo>
                <a:lnTo>
                  <a:pt x="677" y="604"/>
                </a:lnTo>
                <a:lnTo>
                  <a:pt x="669" y="617"/>
                </a:lnTo>
                <a:lnTo>
                  <a:pt x="660" y="629"/>
                </a:lnTo>
                <a:lnTo>
                  <a:pt x="651" y="641"/>
                </a:lnTo>
                <a:lnTo>
                  <a:pt x="642" y="654"/>
                </a:lnTo>
                <a:lnTo>
                  <a:pt x="633" y="665"/>
                </a:lnTo>
                <a:lnTo>
                  <a:pt x="624" y="677"/>
                </a:lnTo>
                <a:lnTo>
                  <a:pt x="615" y="688"/>
                </a:lnTo>
                <a:lnTo>
                  <a:pt x="605" y="699"/>
                </a:lnTo>
                <a:lnTo>
                  <a:pt x="596" y="709"/>
                </a:lnTo>
                <a:lnTo>
                  <a:pt x="586" y="720"/>
                </a:lnTo>
                <a:lnTo>
                  <a:pt x="577" y="730"/>
                </a:lnTo>
                <a:lnTo>
                  <a:pt x="567" y="740"/>
                </a:lnTo>
                <a:lnTo>
                  <a:pt x="558" y="749"/>
                </a:lnTo>
                <a:lnTo>
                  <a:pt x="549" y="758"/>
                </a:lnTo>
                <a:lnTo>
                  <a:pt x="540" y="766"/>
                </a:lnTo>
                <a:lnTo>
                  <a:pt x="531" y="774"/>
                </a:lnTo>
                <a:lnTo>
                  <a:pt x="523" y="782"/>
                </a:lnTo>
                <a:lnTo>
                  <a:pt x="515" y="789"/>
                </a:lnTo>
                <a:lnTo>
                  <a:pt x="507" y="796"/>
                </a:lnTo>
                <a:lnTo>
                  <a:pt x="500" y="803"/>
                </a:lnTo>
                <a:lnTo>
                  <a:pt x="493" y="809"/>
                </a:lnTo>
                <a:lnTo>
                  <a:pt x="486" y="815"/>
                </a:lnTo>
                <a:lnTo>
                  <a:pt x="479" y="820"/>
                </a:lnTo>
                <a:lnTo>
                  <a:pt x="473" y="825"/>
                </a:lnTo>
                <a:lnTo>
                  <a:pt x="467" y="829"/>
                </a:lnTo>
                <a:lnTo>
                  <a:pt x="461" y="833"/>
                </a:lnTo>
                <a:lnTo>
                  <a:pt x="455" y="837"/>
                </a:lnTo>
                <a:lnTo>
                  <a:pt x="450" y="840"/>
                </a:lnTo>
                <a:lnTo>
                  <a:pt x="445" y="844"/>
                </a:lnTo>
                <a:lnTo>
                  <a:pt x="441" y="847"/>
                </a:lnTo>
                <a:lnTo>
                  <a:pt x="437" y="849"/>
                </a:lnTo>
                <a:lnTo>
                  <a:pt x="433" y="852"/>
                </a:lnTo>
                <a:lnTo>
                  <a:pt x="429" y="854"/>
                </a:lnTo>
                <a:lnTo>
                  <a:pt x="426" y="856"/>
                </a:lnTo>
                <a:lnTo>
                  <a:pt x="423" y="858"/>
                </a:lnTo>
                <a:lnTo>
                  <a:pt x="421" y="859"/>
                </a:lnTo>
                <a:lnTo>
                  <a:pt x="418" y="861"/>
                </a:lnTo>
                <a:lnTo>
                  <a:pt x="417" y="862"/>
                </a:lnTo>
                <a:lnTo>
                  <a:pt x="415" y="863"/>
                </a:lnTo>
                <a:lnTo>
                  <a:pt x="414" y="864"/>
                </a:lnTo>
                <a:lnTo>
                  <a:pt x="413" y="864"/>
                </a:lnTo>
                <a:lnTo>
                  <a:pt x="412" y="864"/>
                </a:lnTo>
                <a:lnTo>
                  <a:pt x="410" y="863"/>
                </a:lnTo>
                <a:lnTo>
                  <a:pt x="409" y="861"/>
                </a:lnTo>
                <a:lnTo>
                  <a:pt x="407" y="860"/>
                </a:lnTo>
                <a:lnTo>
                  <a:pt x="404" y="858"/>
                </a:lnTo>
                <a:lnTo>
                  <a:pt x="401" y="855"/>
                </a:lnTo>
                <a:lnTo>
                  <a:pt x="397" y="853"/>
                </a:lnTo>
                <a:lnTo>
                  <a:pt x="393" y="850"/>
                </a:lnTo>
                <a:lnTo>
                  <a:pt x="388" y="846"/>
                </a:lnTo>
                <a:lnTo>
                  <a:pt x="383" y="842"/>
                </a:lnTo>
                <a:lnTo>
                  <a:pt x="377" y="838"/>
                </a:lnTo>
                <a:lnTo>
                  <a:pt x="371" y="834"/>
                </a:lnTo>
                <a:lnTo>
                  <a:pt x="364" y="829"/>
                </a:lnTo>
                <a:lnTo>
                  <a:pt x="357" y="823"/>
                </a:lnTo>
                <a:lnTo>
                  <a:pt x="349" y="818"/>
                </a:lnTo>
                <a:lnTo>
                  <a:pt x="341" y="812"/>
                </a:lnTo>
                <a:lnTo>
                  <a:pt x="333" y="806"/>
                </a:lnTo>
                <a:lnTo>
                  <a:pt x="325" y="799"/>
                </a:lnTo>
                <a:lnTo>
                  <a:pt x="316" y="792"/>
                </a:lnTo>
                <a:lnTo>
                  <a:pt x="308" y="785"/>
                </a:lnTo>
                <a:lnTo>
                  <a:pt x="300" y="777"/>
                </a:lnTo>
                <a:lnTo>
                  <a:pt x="291" y="769"/>
                </a:lnTo>
                <a:lnTo>
                  <a:pt x="282" y="761"/>
                </a:lnTo>
                <a:lnTo>
                  <a:pt x="273" y="752"/>
                </a:lnTo>
                <a:lnTo>
                  <a:pt x="265" y="743"/>
                </a:lnTo>
                <a:lnTo>
                  <a:pt x="256" y="734"/>
                </a:lnTo>
                <a:lnTo>
                  <a:pt x="247" y="725"/>
                </a:lnTo>
                <a:lnTo>
                  <a:pt x="237" y="715"/>
                </a:lnTo>
                <a:lnTo>
                  <a:pt x="228" y="704"/>
                </a:lnTo>
                <a:lnTo>
                  <a:pt x="219" y="694"/>
                </a:lnTo>
                <a:lnTo>
                  <a:pt x="209" y="683"/>
                </a:lnTo>
                <a:lnTo>
                  <a:pt x="200" y="672"/>
                </a:lnTo>
                <a:lnTo>
                  <a:pt x="191" y="660"/>
                </a:lnTo>
                <a:lnTo>
                  <a:pt x="182" y="649"/>
                </a:lnTo>
                <a:lnTo>
                  <a:pt x="173" y="638"/>
                </a:lnTo>
                <a:lnTo>
                  <a:pt x="165" y="626"/>
                </a:lnTo>
                <a:lnTo>
                  <a:pt x="156" y="615"/>
                </a:lnTo>
                <a:lnTo>
                  <a:pt x="148" y="603"/>
                </a:lnTo>
                <a:lnTo>
                  <a:pt x="141" y="591"/>
                </a:lnTo>
                <a:lnTo>
                  <a:pt x="133" y="579"/>
                </a:lnTo>
                <a:lnTo>
                  <a:pt x="126" y="567"/>
                </a:lnTo>
                <a:lnTo>
                  <a:pt x="118" y="555"/>
                </a:lnTo>
                <a:lnTo>
                  <a:pt x="111" y="543"/>
                </a:lnTo>
                <a:lnTo>
                  <a:pt x="105" y="531"/>
                </a:lnTo>
                <a:lnTo>
                  <a:pt x="98" y="519"/>
                </a:lnTo>
                <a:lnTo>
                  <a:pt x="92" y="506"/>
                </a:lnTo>
                <a:lnTo>
                  <a:pt x="86" y="494"/>
                </a:lnTo>
                <a:lnTo>
                  <a:pt x="80" y="482"/>
                </a:lnTo>
                <a:lnTo>
                  <a:pt x="75" y="469"/>
                </a:lnTo>
                <a:lnTo>
                  <a:pt x="69" y="456"/>
                </a:lnTo>
                <a:lnTo>
                  <a:pt x="64" y="444"/>
                </a:lnTo>
                <a:lnTo>
                  <a:pt x="59" y="431"/>
                </a:lnTo>
                <a:lnTo>
                  <a:pt x="54" y="418"/>
                </a:lnTo>
                <a:lnTo>
                  <a:pt x="50" y="406"/>
                </a:lnTo>
                <a:lnTo>
                  <a:pt x="45" y="393"/>
                </a:lnTo>
                <a:lnTo>
                  <a:pt x="41" y="380"/>
                </a:lnTo>
                <a:lnTo>
                  <a:pt x="37" y="367"/>
                </a:lnTo>
                <a:lnTo>
                  <a:pt x="34" y="354"/>
                </a:lnTo>
                <a:lnTo>
                  <a:pt x="30" y="341"/>
                </a:lnTo>
                <a:lnTo>
                  <a:pt x="27" y="328"/>
                </a:lnTo>
                <a:lnTo>
                  <a:pt x="24" y="315"/>
                </a:lnTo>
                <a:lnTo>
                  <a:pt x="21" y="302"/>
                </a:lnTo>
                <a:lnTo>
                  <a:pt x="18" y="289"/>
                </a:lnTo>
                <a:lnTo>
                  <a:pt x="16" y="276"/>
                </a:lnTo>
                <a:lnTo>
                  <a:pt x="13" y="263"/>
                </a:lnTo>
                <a:lnTo>
                  <a:pt x="11" y="250"/>
                </a:lnTo>
                <a:lnTo>
                  <a:pt x="9" y="237"/>
                </a:lnTo>
                <a:lnTo>
                  <a:pt x="7" y="224"/>
                </a:lnTo>
                <a:lnTo>
                  <a:pt x="6" y="212"/>
                </a:lnTo>
                <a:lnTo>
                  <a:pt x="4" y="199"/>
                </a:lnTo>
                <a:lnTo>
                  <a:pt x="3" y="187"/>
                </a:lnTo>
                <a:lnTo>
                  <a:pt x="2" y="175"/>
                </a:lnTo>
                <a:lnTo>
                  <a:pt x="2" y="162"/>
                </a:lnTo>
                <a:lnTo>
                  <a:pt x="1" y="150"/>
                </a:lnTo>
                <a:lnTo>
                  <a:pt x="0" y="138"/>
                </a:lnTo>
                <a:lnTo>
                  <a:pt x="0" y="126"/>
                </a:lnTo>
                <a:lnTo>
                  <a:pt x="0" y="115"/>
                </a:lnTo>
                <a:lnTo>
                  <a:pt x="0" y="103"/>
                </a:lnTo>
                <a:lnTo>
                  <a:pt x="1" y="92"/>
                </a:lnTo>
                <a:lnTo>
                  <a:pt x="1" y="80"/>
                </a:lnTo>
                <a:lnTo>
                  <a:pt x="1" y="70"/>
                </a:lnTo>
                <a:lnTo>
                  <a:pt x="2" y="60"/>
                </a:lnTo>
                <a:lnTo>
                  <a:pt x="2" y="51"/>
                </a:lnTo>
                <a:lnTo>
                  <a:pt x="2" y="43"/>
                </a:lnTo>
                <a:lnTo>
                  <a:pt x="3" y="36"/>
                </a:lnTo>
                <a:lnTo>
                  <a:pt x="3" y="29"/>
                </a:lnTo>
                <a:lnTo>
                  <a:pt x="3" y="23"/>
                </a:lnTo>
                <a:lnTo>
                  <a:pt x="3" y="17"/>
                </a:lnTo>
                <a:lnTo>
                  <a:pt x="4" y="13"/>
                </a:lnTo>
                <a:lnTo>
                  <a:pt x="4" y="9"/>
                </a:lnTo>
                <a:lnTo>
                  <a:pt x="4" y="5"/>
                </a:lnTo>
                <a:lnTo>
                  <a:pt x="4" y="3"/>
                </a:lnTo>
                <a:lnTo>
                  <a:pt x="4" y="1"/>
                </a:lnTo>
                <a:lnTo>
                  <a:pt x="4" y="0"/>
                </a:lnTo>
                <a:lnTo>
                  <a:pt x="5" y="0"/>
                </a:lnTo>
                <a:lnTo>
                  <a:pt x="7" y="1"/>
                </a:lnTo>
                <a:lnTo>
                  <a:pt x="9" y="2"/>
                </a:lnTo>
                <a:lnTo>
                  <a:pt x="12" y="3"/>
                </a:lnTo>
                <a:lnTo>
                  <a:pt x="15" y="5"/>
                </a:lnTo>
                <a:lnTo>
                  <a:pt x="19" y="6"/>
                </a:lnTo>
                <a:lnTo>
                  <a:pt x="24" y="9"/>
                </a:lnTo>
                <a:lnTo>
                  <a:pt x="30" y="11"/>
                </a:lnTo>
                <a:lnTo>
                  <a:pt x="36" y="14"/>
                </a:lnTo>
                <a:lnTo>
                  <a:pt x="42" y="16"/>
                </a:lnTo>
                <a:lnTo>
                  <a:pt x="49" y="20"/>
                </a:lnTo>
                <a:lnTo>
                  <a:pt x="57" y="23"/>
                </a:lnTo>
                <a:lnTo>
                  <a:pt x="66" y="27"/>
                </a:lnTo>
                <a:lnTo>
                  <a:pt x="75" y="31"/>
                </a:lnTo>
                <a:lnTo>
                  <a:pt x="85" y="3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590" tIns="34799" rIns="69590" bIns="347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344765"/>
      </p:ext>
    </p:extLst>
  </p:cSld>
  <p:clrMapOvr>
    <a:masterClrMapping/>
  </p:clrMapOvr>
  <p:transition spd="slow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3669" y="983136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>
            <a:off x="3280748" y="1809310"/>
            <a:ext cx="5878941" cy="3966755"/>
            <a:chOff x="1519" y="1117"/>
            <a:chExt cx="2722" cy="244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519" y="2691"/>
              <a:ext cx="2722" cy="875"/>
            </a:xfrm>
            <a:custGeom>
              <a:avLst/>
              <a:gdLst>
                <a:gd name="T0" fmla="*/ 0 w 2689"/>
                <a:gd name="T1" fmla="*/ 884 h 865"/>
                <a:gd name="T2" fmla="*/ 1377 w 2689"/>
                <a:gd name="T3" fmla="*/ 0 h 865"/>
                <a:gd name="T4" fmla="*/ 2754 w 2689"/>
                <a:gd name="T5" fmla="*/ 884 h 865"/>
                <a:gd name="T6" fmla="*/ 0 w 2689"/>
                <a:gd name="T7" fmla="*/ 884 h 8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89" h="865">
                  <a:moveTo>
                    <a:pt x="0" y="864"/>
                  </a:moveTo>
                  <a:lnTo>
                    <a:pt x="1344" y="0"/>
                  </a:lnTo>
                  <a:lnTo>
                    <a:pt x="2688" y="864"/>
                  </a:lnTo>
                  <a:lnTo>
                    <a:pt x="0" y="864"/>
                  </a:lnTo>
                </a:path>
              </a:pathLst>
            </a:custGeom>
            <a:solidFill>
              <a:schemeClr val="hlink"/>
            </a:solidFill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878" y="1117"/>
              <a:ext cx="1363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81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flipH="1">
              <a:off x="1519" y="1117"/>
              <a:ext cx="1362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79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370488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kom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72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069984" y="2818907"/>
            <a:ext cx="4430557" cy="8430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" name="Picture 23" descr="dd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-6344" y="26"/>
            <a:ext cx="243416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7498084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/>
          <p:cNvSpPr>
            <a:spLocks noGrp="1" noChangeArrowheads="1"/>
          </p:cNvSpPr>
          <p:nvPr>
            <p:ph type="ftr" sz="quarter" idx="10"/>
          </p:nvPr>
        </p:nvSpPr>
        <p:spPr>
          <a:xfrm>
            <a:off x="4176249" y="6453195"/>
            <a:ext cx="3839633" cy="268287"/>
          </a:xfrm>
          <a:prstGeom prst="rect">
            <a:avLst/>
          </a:prstGeom>
          <a:ln/>
        </p:spPr>
        <p:txBody>
          <a:bodyPr lIns="91006" tIns="45505" rIns="91006" bIns="4550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200">
              <a:solidFill>
                <a:srgbClr val="003896"/>
              </a:solidFill>
            </a:endParaRPr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689F6-9125-41BE-8AC3-B9F4C130D05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49825792"/>
      </p:ext>
    </p:extLst>
  </p:cSld>
  <p:clrMapOvr>
    <a:masterClrMapping/>
  </p:clrMapOvr>
  <p:transition spd="slow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6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6" y="6356356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85756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7F850-B20F-4BCB-B7A3-39B920AABAF9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28F573-0DD6-4389-9B89-2E84D3B5E41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98008787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6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6" y="6356356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415621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40" y="1404741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1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096000" y="2924226"/>
            <a:ext cx="563974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5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499" y="3527029"/>
            <a:ext cx="5640243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5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9949DC-E233-BDB6-7DD2-17F85931A9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4734042"/>
            <a:ext cx="12191996" cy="18480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DE6B2B-5B2A-E5ED-09F0-5BA5C1EAA8B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7258" y="2396081"/>
            <a:ext cx="5249333" cy="3568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63BC362-B566-90FE-9C1D-311BA8A1054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5884" y="4219860"/>
            <a:ext cx="3014133" cy="2044700"/>
          </a:xfrm>
          <a:prstGeom prst="rect">
            <a:avLst/>
          </a:prstGeom>
        </p:spPr>
      </p:pic>
      <p:sp>
        <p:nvSpPr>
          <p:cNvPr id="6" name="Picture Placeholder 101">
            <a:extLst>
              <a:ext uri="{FF2B5EF4-FFF2-40B4-BE49-F238E27FC236}">
                <a16:creationId xmlns:a16="http://schemas.microsoft.com/office/drawing/2014/main" id="{59C3DA41-32E8-2765-02D4-6393724EBC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6466" y="4291297"/>
            <a:ext cx="2527301" cy="189547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8" name="Picture Placeholder 103">
            <a:extLst>
              <a:ext uri="{FF2B5EF4-FFF2-40B4-BE49-F238E27FC236}">
                <a16:creationId xmlns:a16="http://schemas.microsoft.com/office/drawing/2014/main" id="{A629C709-3B85-3316-EC53-D4468BCF87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08467" y="2527772"/>
            <a:ext cx="4393133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C54BF1-3145-9B6F-538E-3EA4A8A794F2}"/>
              </a:ext>
            </a:extLst>
          </p:cNvPr>
          <p:cNvSpPr/>
          <p:nvPr userDrawn="1"/>
        </p:nvSpPr>
        <p:spPr>
          <a:xfrm>
            <a:off x="0" y="6582138"/>
            <a:ext cx="12192000" cy="8197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56752137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2234" y="167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34" y="167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Rectangle 145"/>
          <p:cNvSpPr/>
          <p:nvPr userDrawn="1"/>
        </p:nvSpPr>
        <p:spPr>
          <a:xfrm>
            <a:off x="75213" y="26"/>
            <a:ext cx="4078817" cy="6858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92786" tIns="46398" rIns="92786" bIns="46398" anchor="ctr"/>
          <a:lstStyle/>
          <a:p>
            <a:pPr algn="ctr">
              <a:defRPr/>
            </a:pPr>
            <a:endParaRPr lang="en-US" sz="1800" kern="0">
              <a:solidFill>
                <a:srgbClr val="FFFFFF"/>
              </a:solidFill>
            </a:endParaRPr>
          </a:p>
        </p:txBody>
      </p:sp>
      <p:grpSp>
        <p:nvGrpSpPr>
          <p:cNvPr id="197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198" name="Picture 23" descr="d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91"/>
            <p:cNvSpPr>
              <a:spLocks noChangeArrowheads="1"/>
            </p:cNvSpPr>
            <p:nvPr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pic>
          <p:nvPicPr>
            <p:cNvPr id="200" name="Picture 161" descr="logo small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438667" y="5106070"/>
            <a:ext cx="6714780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438652" y="2283937"/>
            <a:ext cx="7047099" cy="5103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438652" y="4198173"/>
            <a:ext cx="7047099" cy="290144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147" name="Group 155"/>
          <p:cNvGrpSpPr>
            <a:grpSpLocks/>
          </p:cNvGrpSpPr>
          <p:nvPr userDrawn="1"/>
        </p:nvGrpSpPr>
        <p:grpSpPr bwMode="auto">
          <a:xfrm>
            <a:off x="342908" y="1201748"/>
            <a:ext cx="3310467" cy="2444750"/>
            <a:chOff x="162" y="757"/>
            <a:chExt cx="1564" cy="1540"/>
          </a:xfrm>
        </p:grpSpPr>
        <p:sp>
          <p:nvSpPr>
            <p:cNvPr id="148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49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0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1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2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53" name="Oval 102"/>
          <p:cNvSpPr>
            <a:spLocks noChangeArrowheads="1"/>
          </p:cNvSpPr>
          <p:nvPr userDrawn="1"/>
        </p:nvSpPr>
        <p:spPr bwMode="auto">
          <a:xfrm>
            <a:off x="582157" y="1362093"/>
            <a:ext cx="2882900" cy="2173288"/>
          </a:xfrm>
          <a:prstGeom prst="ellipse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3896"/>
              </a:solidFill>
            </a:endParaRPr>
          </a:p>
        </p:txBody>
      </p:sp>
      <p:grpSp>
        <p:nvGrpSpPr>
          <p:cNvPr id="154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55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6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7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58" name="Group 146"/>
          <p:cNvGrpSpPr>
            <a:grpSpLocks/>
          </p:cNvGrpSpPr>
          <p:nvPr userDrawn="1"/>
        </p:nvGrpSpPr>
        <p:grpSpPr bwMode="auto">
          <a:xfrm>
            <a:off x="1217114" y="620730"/>
            <a:ext cx="1712383" cy="1260475"/>
            <a:chOff x="575" y="391"/>
            <a:chExt cx="809" cy="794"/>
          </a:xfrm>
        </p:grpSpPr>
        <p:sp>
          <p:nvSpPr>
            <p:cNvPr id="159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0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1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2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3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4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5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6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67" name="Oval 118"/>
          <p:cNvSpPr>
            <a:spLocks noChangeArrowheads="1"/>
          </p:cNvSpPr>
          <p:nvPr userDrawn="1"/>
        </p:nvSpPr>
        <p:spPr bwMode="auto">
          <a:xfrm>
            <a:off x="1322917" y="657224"/>
            <a:ext cx="1481667" cy="1112838"/>
          </a:xfrm>
          <a:prstGeom prst="ellipse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">
              <a:solidFill>
                <a:srgbClr val="003896"/>
              </a:solidFill>
            </a:endParaRPr>
          </a:p>
        </p:txBody>
      </p:sp>
      <p:grpSp>
        <p:nvGrpSpPr>
          <p:cNvPr id="168" name="Group 145"/>
          <p:cNvGrpSpPr>
            <a:grpSpLocks/>
          </p:cNvGrpSpPr>
          <p:nvPr userDrawn="1"/>
        </p:nvGrpSpPr>
        <p:grpSpPr bwMode="auto">
          <a:xfrm>
            <a:off x="1151482" y="620729"/>
            <a:ext cx="1826684" cy="1284287"/>
            <a:chOff x="544" y="391"/>
            <a:chExt cx="863" cy="809"/>
          </a:xfrm>
        </p:grpSpPr>
        <p:sp>
          <p:nvSpPr>
            <p:cNvPr id="169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0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1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72" name="Group 157"/>
          <p:cNvGrpSpPr>
            <a:grpSpLocks/>
          </p:cNvGrpSpPr>
          <p:nvPr userDrawn="1"/>
        </p:nvGrpSpPr>
        <p:grpSpPr bwMode="auto">
          <a:xfrm>
            <a:off x="442400" y="3090863"/>
            <a:ext cx="2766483" cy="2038350"/>
            <a:chOff x="209" y="1947"/>
            <a:chExt cx="1307" cy="1284"/>
          </a:xfrm>
        </p:grpSpPr>
        <p:sp>
          <p:nvSpPr>
            <p:cNvPr id="173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4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5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6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7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8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79" name="Oval 128"/>
          <p:cNvSpPr>
            <a:spLocks noChangeArrowheads="1"/>
          </p:cNvSpPr>
          <p:nvPr userDrawn="1"/>
        </p:nvSpPr>
        <p:spPr bwMode="auto">
          <a:xfrm>
            <a:off x="643540" y="3227388"/>
            <a:ext cx="2402417" cy="1814512"/>
          </a:xfrm>
          <a:prstGeom prst="ellipse">
            <a:avLst/>
          </a:prstGeom>
          <a:blipFill dpi="0" rotWithShape="1">
            <a:blip r:embed="rId9">
              <a:alphaModFix amt="73000"/>
            </a:blip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C0C0C0"/>
              </a:solidFill>
            </a:endParaRPr>
          </a:p>
        </p:txBody>
      </p:sp>
      <p:grpSp>
        <p:nvGrpSpPr>
          <p:cNvPr id="180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181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2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3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84" name="Group 159"/>
          <p:cNvGrpSpPr>
            <a:grpSpLocks/>
          </p:cNvGrpSpPr>
          <p:nvPr userDrawn="1"/>
        </p:nvGrpSpPr>
        <p:grpSpPr bwMode="auto">
          <a:xfrm>
            <a:off x="1200224" y="4684716"/>
            <a:ext cx="2290233" cy="1692275"/>
            <a:chOff x="567" y="2951"/>
            <a:chExt cx="1082" cy="1066"/>
          </a:xfrm>
        </p:grpSpPr>
        <p:sp>
          <p:nvSpPr>
            <p:cNvPr id="185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6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7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8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9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0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91" name="Oval 138"/>
          <p:cNvSpPr>
            <a:spLocks noChangeArrowheads="1"/>
          </p:cNvSpPr>
          <p:nvPr userDrawn="1"/>
        </p:nvSpPr>
        <p:spPr bwMode="auto">
          <a:xfrm>
            <a:off x="1352622" y="4746626"/>
            <a:ext cx="2008716" cy="1519238"/>
          </a:xfrm>
          <a:prstGeom prst="ellipse">
            <a:avLst/>
          </a:prstGeom>
          <a:blipFill dpi="0" rotWithShape="1">
            <a:blip r:embed="rId10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C0C0C0"/>
              </a:solidFill>
            </a:endParaRPr>
          </a:p>
        </p:txBody>
      </p:sp>
      <p:grpSp>
        <p:nvGrpSpPr>
          <p:cNvPr id="192" name="Group 160"/>
          <p:cNvGrpSpPr>
            <a:grpSpLocks/>
          </p:cNvGrpSpPr>
          <p:nvPr userDrawn="1"/>
        </p:nvGrpSpPr>
        <p:grpSpPr bwMode="auto">
          <a:xfrm>
            <a:off x="1117600" y="4684769"/>
            <a:ext cx="2438400" cy="1728787"/>
            <a:chOff x="528" y="2951"/>
            <a:chExt cx="1152" cy="1089"/>
          </a:xfrm>
        </p:grpSpPr>
        <p:sp>
          <p:nvSpPr>
            <p:cNvPr id="193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4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5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pic>
        <p:nvPicPr>
          <p:cNvPr id="196" name="Picture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269" y="5910266"/>
            <a:ext cx="436456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9042015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4" y="26"/>
            <a:ext cx="407881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8" tIns="45467" rIns="90928" bIns="4546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5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6" name="Picture 23" descr="dd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pic>
          <p:nvPicPr>
            <p:cNvPr id="8" name="Picture 161" descr="logo small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55"/>
          <p:cNvGrpSpPr>
            <a:grpSpLocks/>
          </p:cNvGrpSpPr>
          <p:nvPr userDrawn="1"/>
        </p:nvGrpSpPr>
        <p:grpSpPr bwMode="auto">
          <a:xfrm>
            <a:off x="342908" y="1201748"/>
            <a:ext cx="3310467" cy="2444750"/>
            <a:chOff x="162" y="757"/>
            <a:chExt cx="1564" cy="1540"/>
          </a:xfrm>
        </p:grpSpPr>
        <p:sp>
          <p:nvSpPr>
            <p:cNvPr id="10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1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2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3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4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15" name="Oval 102" descr="DSC_4904"/>
          <p:cNvSpPr>
            <a:spLocks noChangeArrowheads="1"/>
          </p:cNvSpPr>
          <p:nvPr userDrawn="1"/>
        </p:nvSpPr>
        <p:spPr bwMode="auto">
          <a:xfrm>
            <a:off x="582157" y="1362093"/>
            <a:ext cx="2882900" cy="2173288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28" tIns="45467" rIns="90928" bIns="45467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1000"/>
          </a:p>
        </p:txBody>
      </p:sp>
      <p:grpSp>
        <p:nvGrpSpPr>
          <p:cNvPr id="16" name="Group 156"/>
          <p:cNvGrpSpPr>
            <a:grpSpLocks/>
          </p:cNvGrpSpPr>
          <p:nvPr userDrawn="1"/>
        </p:nvGrpSpPr>
        <p:grpSpPr bwMode="auto">
          <a:xfrm>
            <a:off x="228600" y="1201738"/>
            <a:ext cx="3524251" cy="2493962"/>
            <a:chOff x="108" y="757"/>
            <a:chExt cx="1665" cy="1571"/>
          </a:xfrm>
        </p:grpSpPr>
        <p:sp>
          <p:nvSpPr>
            <p:cNvPr id="17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8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9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20" name="Group 146"/>
          <p:cNvGrpSpPr>
            <a:grpSpLocks/>
          </p:cNvGrpSpPr>
          <p:nvPr userDrawn="1"/>
        </p:nvGrpSpPr>
        <p:grpSpPr bwMode="auto">
          <a:xfrm>
            <a:off x="1217114" y="620730"/>
            <a:ext cx="1712383" cy="1260475"/>
            <a:chOff x="575" y="391"/>
            <a:chExt cx="809" cy="794"/>
          </a:xfrm>
        </p:grpSpPr>
        <p:sp>
          <p:nvSpPr>
            <p:cNvPr id="21" name="Oval 147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2" name="Oval 148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3" name="Oval 149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4" name="Oval 150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5" name="Oval 151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6" name="Oval 152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7" name="Oval 153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8" name="Oval 154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4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29" name="Oval 118"/>
          <p:cNvSpPr>
            <a:spLocks noChangeArrowheads="1"/>
          </p:cNvSpPr>
          <p:nvPr userDrawn="1"/>
        </p:nvSpPr>
        <p:spPr bwMode="auto">
          <a:xfrm>
            <a:off x="1339851" y="706493"/>
            <a:ext cx="1481667" cy="1112837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28" tIns="45467" rIns="90928" bIns="45467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600"/>
          </a:p>
        </p:txBody>
      </p:sp>
      <p:grpSp>
        <p:nvGrpSpPr>
          <p:cNvPr id="30" name="Group 145"/>
          <p:cNvGrpSpPr>
            <a:grpSpLocks/>
          </p:cNvGrpSpPr>
          <p:nvPr userDrawn="1"/>
        </p:nvGrpSpPr>
        <p:grpSpPr bwMode="auto">
          <a:xfrm>
            <a:off x="1151482" y="620729"/>
            <a:ext cx="1826684" cy="1284287"/>
            <a:chOff x="544" y="391"/>
            <a:chExt cx="863" cy="809"/>
          </a:xfrm>
        </p:grpSpPr>
        <p:sp>
          <p:nvSpPr>
            <p:cNvPr id="31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2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3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1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34" name="Group 157"/>
          <p:cNvGrpSpPr>
            <a:grpSpLocks/>
          </p:cNvGrpSpPr>
          <p:nvPr userDrawn="1"/>
        </p:nvGrpSpPr>
        <p:grpSpPr bwMode="auto">
          <a:xfrm>
            <a:off x="442400" y="3090863"/>
            <a:ext cx="2766483" cy="2038350"/>
            <a:chOff x="209" y="1947"/>
            <a:chExt cx="1307" cy="1284"/>
          </a:xfrm>
        </p:grpSpPr>
        <p:sp>
          <p:nvSpPr>
            <p:cNvPr id="35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6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3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7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8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9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0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41" name="Oval 128"/>
          <p:cNvGrpSpPr>
            <a:grpSpLocks/>
          </p:cNvGrpSpPr>
          <p:nvPr userDrawn="1"/>
        </p:nvGrpSpPr>
        <p:grpSpPr bwMode="auto">
          <a:xfrm>
            <a:off x="635011" y="3219450"/>
            <a:ext cx="2421467" cy="1828800"/>
            <a:chOff x="300" y="2028"/>
            <a:chExt cx="1144" cy="1152"/>
          </a:xfrm>
        </p:grpSpPr>
        <p:pic>
          <p:nvPicPr>
            <p:cNvPr id="42" name="Oval 128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" y="2028"/>
              <a:ext cx="1144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Text Box 12"/>
            <p:cNvSpPr txBox="1">
              <a:spLocks noChangeArrowheads="1"/>
            </p:cNvSpPr>
            <p:nvPr/>
          </p:nvSpPr>
          <p:spPr bwMode="auto">
            <a:xfrm>
              <a:off x="470" y="2200"/>
              <a:ext cx="803" cy="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00">
                <a:solidFill>
                  <a:srgbClr val="C0C0C0"/>
                </a:solidFill>
              </a:endParaRPr>
            </a:p>
          </p:txBody>
        </p:sp>
      </p:grpSp>
      <p:grpSp>
        <p:nvGrpSpPr>
          <p:cNvPr id="44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45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6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7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48" name="Group 159"/>
          <p:cNvGrpSpPr>
            <a:grpSpLocks/>
          </p:cNvGrpSpPr>
          <p:nvPr userDrawn="1"/>
        </p:nvGrpSpPr>
        <p:grpSpPr bwMode="auto">
          <a:xfrm>
            <a:off x="1200224" y="4684714"/>
            <a:ext cx="2290233" cy="1692275"/>
            <a:chOff x="567" y="2951"/>
            <a:chExt cx="1082" cy="1066"/>
          </a:xfrm>
        </p:grpSpPr>
        <p:sp>
          <p:nvSpPr>
            <p:cNvPr id="4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3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55" name="Oval 138"/>
          <p:cNvGrpSpPr>
            <a:grpSpLocks/>
          </p:cNvGrpSpPr>
          <p:nvPr userDrawn="1"/>
        </p:nvGrpSpPr>
        <p:grpSpPr bwMode="auto">
          <a:xfrm>
            <a:off x="1341968" y="4784725"/>
            <a:ext cx="2032000" cy="1530350"/>
            <a:chOff x="634" y="3014"/>
            <a:chExt cx="960" cy="964"/>
          </a:xfrm>
        </p:grpSpPr>
        <p:pic>
          <p:nvPicPr>
            <p:cNvPr id="56" name="Oval 138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" y="3014"/>
              <a:ext cx="960" cy="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Text Box 17"/>
            <p:cNvSpPr txBox="1">
              <a:spLocks noChangeArrowheads="1"/>
            </p:cNvSpPr>
            <p:nvPr/>
          </p:nvSpPr>
          <p:spPr bwMode="auto">
            <a:xfrm>
              <a:off x="778" y="3158"/>
              <a:ext cx="671" cy="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>
                <a:solidFill>
                  <a:srgbClr val="C0C0C0"/>
                </a:solidFill>
              </a:endParaRPr>
            </a:p>
          </p:txBody>
        </p:sp>
      </p:grpSp>
      <p:grpSp>
        <p:nvGrpSpPr>
          <p:cNvPr id="58" name="Group 160"/>
          <p:cNvGrpSpPr>
            <a:grpSpLocks/>
          </p:cNvGrpSpPr>
          <p:nvPr userDrawn="1"/>
        </p:nvGrpSpPr>
        <p:grpSpPr bwMode="auto">
          <a:xfrm>
            <a:off x="1117600" y="4684768"/>
            <a:ext cx="2438400" cy="1728787"/>
            <a:chOff x="528" y="2951"/>
            <a:chExt cx="1152" cy="1089"/>
          </a:xfrm>
        </p:grpSpPr>
        <p:sp>
          <p:nvSpPr>
            <p:cNvPr id="59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60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61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5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165600" y="2130457"/>
            <a:ext cx="7112001" cy="2162175"/>
          </a:xfrm>
        </p:spPr>
        <p:txBody>
          <a:bodyPr/>
          <a:lstStyle>
            <a:lvl1pPr algn="ct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78895" y="4684730"/>
            <a:ext cx="7393516" cy="954087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2" name="Rectangle 37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41"/>
            <a:ext cx="2844800" cy="476250"/>
          </a:xfrm>
        </p:spPr>
        <p:txBody>
          <a:bodyPr/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A2F177EE-BEE2-4F3D-8F68-783F6558A4FC}" type="datetime1">
              <a:rPr lang="en-ZA"/>
              <a:pPr>
                <a:defRPr/>
              </a:pPr>
              <a:t>2026/03/18</a:t>
            </a:fld>
            <a:endParaRPr lang="en-ZA"/>
          </a:p>
        </p:txBody>
      </p:sp>
      <p:sp>
        <p:nvSpPr>
          <p:cNvPr id="63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1" y="6245241"/>
            <a:ext cx="3860800" cy="476250"/>
          </a:xfrm>
          <a:prstGeom prst="rect">
            <a:avLst/>
          </a:prstGeom>
        </p:spPr>
        <p:txBody>
          <a:bodyPr lIns="92786" tIns="46398" rIns="92786" bIns="4639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>
              <a:solidFill>
                <a:srgbClr val="003896"/>
              </a:solidFill>
            </a:endParaRPr>
          </a:p>
        </p:txBody>
      </p:sp>
      <p:sp>
        <p:nvSpPr>
          <p:cNvPr id="64" name="Rectangle 3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41"/>
            <a:ext cx="2844800" cy="476250"/>
          </a:xfrm>
        </p:spPr>
        <p:txBody>
          <a:bodyPr/>
          <a:lstStyle>
            <a:lvl1pPr algn="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B5C77F55-BB69-4AFF-94BF-43BA7F0502A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95600335"/>
      </p:ext>
    </p:extLst>
  </p:cSld>
  <p:clrMapOvr>
    <a:masterClrMapping/>
  </p:clrMapOvr>
  <p:transition spd="slow">
    <p:fade/>
  </p:transition>
  <p:hf hdr="0" ftr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321" y="1268761"/>
            <a:ext cx="11172092" cy="5213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31388873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4633" indent="0">
              <a:buNone/>
              <a:defRPr sz="1800"/>
            </a:lvl2pPr>
            <a:lvl3pPr marL="909278" indent="0">
              <a:buNone/>
              <a:defRPr sz="1600"/>
            </a:lvl3pPr>
            <a:lvl4pPr marL="1363916" indent="0">
              <a:buNone/>
              <a:defRPr sz="1400"/>
            </a:lvl4pPr>
            <a:lvl5pPr marL="1818554" indent="0">
              <a:buNone/>
              <a:defRPr sz="1400"/>
            </a:lvl5pPr>
            <a:lvl6pPr marL="2273191" indent="0">
              <a:buNone/>
              <a:defRPr sz="1400"/>
            </a:lvl6pPr>
            <a:lvl7pPr marL="2727834" indent="0">
              <a:buNone/>
              <a:defRPr sz="1400"/>
            </a:lvl7pPr>
            <a:lvl8pPr marL="3182473" indent="0">
              <a:buNone/>
              <a:defRPr sz="1400"/>
            </a:lvl8pPr>
            <a:lvl9pPr marL="36371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9B704-B34B-479F-A06C-BC451AB2738B}" type="datetime1">
              <a:rPr lang="en-ZA"/>
              <a:pPr>
                <a:defRPr/>
              </a:pPr>
              <a:t>2026/03/18</a:t>
            </a:fld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EFCAC-3ACE-4AF3-AF26-F063C36430C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45107831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107" y="1436742"/>
            <a:ext cx="5484283" cy="50450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73" y="1436742"/>
            <a:ext cx="5484284" cy="50450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8D6A54-C36A-46DA-831C-4F597E8C082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7184917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69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0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6" y="6453189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34725714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and Tex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69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0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6" y="6453189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0518426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 with Footnot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7404917" y="1589087"/>
            <a:ext cx="4359585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69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0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6" y="6453189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05550172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ABE61-8BAE-48AE-A932-872A66CD515E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DA5BFA-3CA6-4A6C-B53A-996B94AB251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66418546"/>
      </p:ext>
    </p:extLst>
  </p:cSld>
  <p:clrMapOvr>
    <a:masterClrMapping/>
  </p:clrMapOvr>
  <p:transition spd="slow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9369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0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6" y="6453189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02589289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6220187" y="3351306"/>
            <a:ext cx="3429743" cy="22773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>
            <a:lvl1pPr marL="342900" indent="-342900"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92088" indent="-188913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76238" indent="-182563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1500" indent="-193675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287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59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31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03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225" lvl="2" indent="0" fontAlgn="base">
              <a:spcAft>
                <a:spcPct val="0"/>
              </a:spcAft>
              <a:buFontTx/>
              <a:buNone/>
            </a:pPr>
            <a:endParaRPr lang="en-GB" altLang="en-US" sz="1400">
              <a:solidFill>
                <a:srgbClr val="003896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03669" y="932973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8" name="Oval 5"/>
          <p:cNvSpPr>
            <a:spLocks noChangeArrowheads="1"/>
          </p:cNvSpPr>
          <p:nvPr userDrawn="1"/>
        </p:nvSpPr>
        <p:spPr bwMode="auto">
          <a:xfrm>
            <a:off x="6513941" y="2763303"/>
            <a:ext cx="587463" cy="440571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786" tIns="46398" rIns="92786" bIns="46398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grpSp>
        <p:nvGrpSpPr>
          <p:cNvPr id="9" name="Group 6"/>
          <p:cNvGrpSpPr>
            <a:grpSpLocks/>
          </p:cNvGrpSpPr>
          <p:nvPr userDrawn="1"/>
        </p:nvGrpSpPr>
        <p:grpSpPr bwMode="auto">
          <a:xfrm>
            <a:off x="2889866" y="2492788"/>
            <a:ext cx="3436223" cy="3109910"/>
            <a:chOff x="1577" y="1539"/>
            <a:chExt cx="1591" cy="1920"/>
          </a:xfrm>
        </p:grpSpPr>
        <p:sp>
          <p:nvSpPr>
            <p:cNvPr id="10" name="Arc 7"/>
            <p:cNvSpPr>
              <a:spLocks/>
            </p:cNvSpPr>
            <p:nvPr/>
          </p:nvSpPr>
          <p:spPr bwMode="auto">
            <a:xfrm>
              <a:off x="1577" y="2573"/>
              <a:ext cx="538" cy="886"/>
            </a:xfrm>
            <a:custGeom>
              <a:avLst/>
              <a:gdLst>
                <a:gd name="T0" fmla="*/ 0 w 28334"/>
                <a:gd name="T1" fmla="*/ 2 h 21600"/>
                <a:gd name="T2" fmla="*/ 10 w 28334"/>
                <a:gd name="T3" fmla="*/ 36 h 21600"/>
                <a:gd name="T4" fmla="*/ 2 w 28334"/>
                <a:gd name="T5" fmla="*/ 36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334" h="21600" fill="none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</a:path>
                <a:path w="28334" h="21600" stroke="0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  <a:lnTo>
                    <a:pt x="6734" y="21600"/>
                  </a:lnTo>
                  <a:lnTo>
                    <a:pt x="-1" y="1076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1" name="Arc 8"/>
            <p:cNvSpPr>
              <a:spLocks/>
            </p:cNvSpPr>
            <p:nvPr/>
          </p:nvSpPr>
          <p:spPr bwMode="auto">
            <a:xfrm>
              <a:off x="2103" y="1539"/>
              <a:ext cx="1065" cy="1920"/>
            </a:xfrm>
            <a:custGeom>
              <a:avLst/>
              <a:gdLst>
                <a:gd name="T0" fmla="*/ 0 w 28293"/>
                <a:gd name="T1" fmla="*/ 170 h 21600"/>
                <a:gd name="T2" fmla="*/ 40 w 28293"/>
                <a:gd name="T3" fmla="*/ 8 h 21600"/>
                <a:gd name="T4" fmla="*/ 31 w 28293"/>
                <a:gd name="T5" fmla="*/ 17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293" h="21600" fill="none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</a:path>
                <a:path w="28293" h="21600" stroke="0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  <a:lnTo>
                    <a:pt x="21600" y="21600"/>
                  </a:lnTo>
                  <a:lnTo>
                    <a:pt x="0" y="21544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2" name="Line 9"/>
          <p:cNvSpPr>
            <a:spLocks noChangeShapeType="1"/>
          </p:cNvSpPr>
          <p:nvPr userDrawn="1"/>
        </p:nvSpPr>
        <p:spPr bwMode="auto">
          <a:xfrm flipH="1">
            <a:off x="2790476" y="5753334"/>
            <a:ext cx="684652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933789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Oval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339064" y="3131021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7" name="Oval 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183597" y="3131021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8" name="Oval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261331" y="1661912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331073" y="1003195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10" name="Freeform 7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207229" y="3130967"/>
            <a:ext cx="1971887" cy="1334670"/>
          </a:xfrm>
          <a:custGeom>
            <a:avLst/>
            <a:gdLst>
              <a:gd name="T0" fmla="*/ 262096340 w 913"/>
              <a:gd name="T1" fmla="*/ 579627938 h 815"/>
              <a:gd name="T2" fmla="*/ 378023568 w 913"/>
              <a:gd name="T3" fmla="*/ 692976809 h 815"/>
              <a:gd name="T4" fmla="*/ 498991110 w 913"/>
              <a:gd name="T5" fmla="*/ 832088028 h 815"/>
              <a:gd name="T6" fmla="*/ 619958651 w 913"/>
              <a:gd name="T7" fmla="*/ 991807840 h 815"/>
              <a:gd name="T8" fmla="*/ 725805250 w 913"/>
              <a:gd name="T9" fmla="*/ 1151527653 h 815"/>
              <a:gd name="T10" fmla="*/ 811490592 w 913"/>
              <a:gd name="T11" fmla="*/ 1311247465 h 815"/>
              <a:gd name="T12" fmla="*/ 879535628 w 913"/>
              <a:gd name="T13" fmla="*/ 1468389598 h 815"/>
              <a:gd name="T14" fmla="*/ 932458134 w 913"/>
              <a:gd name="T15" fmla="*/ 1617805114 h 815"/>
              <a:gd name="T16" fmla="*/ 972780648 w 913"/>
              <a:gd name="T17" fmla="*/ 1764644555 h 815"/>
              <a:gd name="T18" fmla="*/ 997982219 w 913"/>
              <a:gd name="T19" fmla="*/ 1903755774 h 815"/>
              <a:gd name="T20" fmla="*/ 1015624113 w 913"/>
              <a:gd name="T21" fmla="*/ 2011952497 h 815"/>
              <a:gd name="T22" fmla="*/ 1025704741 w 913"/>
              <a:gd name="T23" fmla="*/ 2076355958 h 815"/>
              <a:gd name="T24" fmla="*/ 1028224105 w 913"/>
              <a:gd name="T25" fmla="*/ 2096964552 h 815"/>
              <a:gd name="T26" fmla="*/ 1043345047 w 913"/>
              <a:gd name="T27" fmla="*/ 2086660255 h 815"/>
              <a:gd name="T28" fmla="*/ 1093748190 w 913"/>
              <a:gd name="T29" fmla="*/ 2058323438 h 815"/>
              <a:gd name="T30" fmla="*/ 1176914169 w 913"/>
              <a:gd name="T31" fmla="*/ 2011952497 h 815"/>
              <a:gd name="T32" fmla="*/ 1285280131 w 913"/>
              <a:gd name="T33" fmla="*/ 1947549036 h 815"/>
              <a:gd name="T34" fmla="*/ 1403728309 w 913"/>
              <a:gd name="T35" fmla="*/ 1857384833 h 815"/>
              <a:gd name="T36" fmla="*/ 1534776479 w 913"/>
              <a:gd name="T37" fmla="*/ 1746612036 h 815"/>
              <a:gd name="T38" fmla="*/ 1670864964 w 913"/>
              <a:gd name="T39" fmla="*/ 1615229040 h 815"/>
              <a:gd name="T40" fmla="*/ 1794351869 w 913"/>
              <a:gd name="T41" fmla="*/ 1470967278 h 815"/>
              <a:gd name="T42" fmla="*/ 1907759733 w 913"/>
              <a:gd name="T43" fmla="*/ 1313823539 h 815"/>
              <a:gd name="T44" fmla="*/ 2008566018 w 913"/>
              <a:gd name="T45" fmla="*/ 1146375504 h 815"/>
              <a:gd name="T46" fmla="*/ 2091730409 w 913"/>
              <a:gd name="T47" fmla="*/ 984079617 h 815"/>
              <a:gd name="T48" fmla="*/ 2147483646 w 913"/>
              <a:gd name="T49" fmla="*/ 829511953 h 815"/>
              <a:gd name="T50" fmla="*/ 2147483646 w 913"/>
              <a:gd name="T51" fmla="*/ 685248586 h 815"/>
              <a:gd name="T52" fmla="*/ 2147483646 w 913"/>
              <a:gd name="T53" fmla="*/ 556443270 h 815"/>
              <a:gd name="T54" fmla="*/ 2147483646 w 913"/>
              <a:gd name="T55" fmla="*/ 453397090 h 815"/>
              <a:gd name="T56" fmla="*/ 2147483646 w 913"/>
              <a:gd name="T57" fmla="*/ 370961110 h 815"/>
              <a:gd name="T58" fmla="*/ 2147483646 w 913"/>
              <a:gd name="T59" fmla="*/ 311711402 h 815"/>
              <a:gd name="T60" fmla="*/ 2147483646 w 913"/>
              <a:gd name="T61" fmla="*/ 273068684 h 815"/>
              <a:gd name="T62" fmla="*/ 2147483646 w 913"/>
              <a:gd name="T63" fmla="*/ 257612238 h 815"/>
              <a:gd name="T64" fmla="*/ 2147483646 w 913"/>
              <a:gd name="T65" fmla="*/ 249884016 h 815"/>
              <a:gd name="T66" fmla="*/ 2147483646 w 913"/>
              <a:gd name="T67" fmla="*/ 231851496 h 815"/>
              <a:gd name="T68" fmla="*/ 2147483646 w 913"/>
              <a:gd name="T69" fmla="*/ 200937000 h 815"/>
              <a:gd name="T70" fmla="*/ 2099291674 w 913"/>
              <a:gd name="T71" fmla="*/ 159719813 h 815"/>
              <a:gd name="T72" fmla="*/ 1985883810 w 913"/>
              <a:gd name="T73" fmla="*/ 118501020 h 815"/>
              <a:gd name="T74" fmla="*/ 1852316276 w 913"/>
              <a:gd name="T75" fmla="*/ 79859906 h 815"/>
              <a:gd name="T76" fmla="*/ 1696066535 w 913"/>
              <a:gd name="T77" fmla="*/ 41217188 h 815"/>
              <a:gd name="T78" fmla="*/ 1527215214 w 913"/>
              <a:gd name="T79" fmla="*/ 15456445 h 815"/>
              <a:gd name="T80" fmla="*/ 1345763902 w 913"/>
              <a:gd name="T81" fmla="*/ 2576074 h 815"/>
              <a:gd name="T82" fmla="*/ 1156752912 w 913"/>
              <a:gd name="T83" fmla="*/ 2576074 h 815"/>
              <a:gd name="T84" fmla="*/ 967740334 w 913"/>
              <a:gd name="T85" fmla="*/ 15456445 h 815"/>
              <a:gd name="T86" fmla="*/ 788809972 w 913"/>
              <a:gd name="T87" fmla="*/ 46370941 h 815"/>
              <a:gd name="T88" fmla="*/ 619958651 w 913"/>
              <a:gd name="T89" fmla="*/ 90164203 h 815"/>
              <a:gd name="T90" fmla="*/ 463708910 w 913"/>
              <a:gd name="T91" fmla="*/ 144263367 h 815"/>
              <a:gd name="T92" fmla="*/ 325101062 w 913"/>
              <a:gd name="T93" fmla="*/ 203513074 h 815"/>
              <a:gd name="T94" fmla="*/ 201612570 w 913"/>
              <a:gd name="T95" fmla="*/ 265340461 h 815"/>
              <a:gd name="T96" fmla="*/ 100806285 w 913"/>
              <a:gd name="T97" fmla="*/ 322015699 h 815"/>
              <a:gd name="T98" fmla="*/ 32762836 w 913"/>
              <a:gd name="T99" fmla="*/ 360656813 h 815"/>
              <a:gd name="T100" fmla="*/ 2520951 w 913"/>
              <a:gd name="T101" fmla="*/ 378690937 h 815"/>
              <a:gd name="T102" fmla="*/ 5040314 w 913"/>
              <a:gd name="T103" fmla="*/ 383843086 h 815"/>
              <a:gd name="T104" fmla="*/ 42843465 w 913"/>
              <a:gd name="T105" fmla="*/ 412179902 h 815"/>
              <a:gd name="T106" fmla="*/ 113407864 w 913"/>
              <a:gd name="T107" fmla="*/ 463702992 h 81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3" h="815">
                <a:moveTo>
                  <a:pt x="69" y="197"/>
                </a:moveTo>
                <a:lnTo>
                  <a:pt x="77" y="203"/>
                </a:lnTo>
                <a:lnTo>
                  <a:pt x="86" y="210"/>
                </a:lnTo>
                <a:lnTo>
                  <a:pt x="95" y="217"/>
                </a:lnTo>
                <a:lnTo>
                  <a:pt x="104" y="225"/>
                </a:lnTo>
                <a:lnTo>
                  <a:pt x="113" y="233"/>
                </a:lnTo>
                <a:lnTo>
                  <a:pt x="122" y="241"/>
                </a:lnTo>
                <a:lnTo>
                  <a:pt x="131" y="250"/>
                </a:lnTo>
                <a:lnTo>
                  <a:pt x="140" y="259"/>
                </a:lnTo>
                <a:lnTo>
                  <a:pt x="150" y="269"/>
                </a:lnTo>
                <a:lnTo>
                  <a:pt x="159" y="279"/>
                </a:lnTo>
                <a:lnTo>
                  <a:pt x="169" y="289"/>
                </a:lnTo>
                <a:lnTo>
                  <a:pt x="178" y="300"/>
                </a:lnTo>
                <a:lnTo>
                  <a:pt x="188" y="311"/>
                </a:lnTo>
                <a:lnTo>
                  <a:pt x="198" y="323"/>
                </a:lnTo>
                <a:lnTo>
                  <a:pt x="208" y="335"/>
                </a:lnTo>
                <a:lnTo>
                  <a:pt x="218" y="347"/>
                </a:lnTo>
                <a:lnTo>
                  <a:pt x="227" y="360"/>
                </a:lnTo>
                <a:lnTo>
                  <a:pt x="237" y="372"/>
                </a:lnTo>
                <a:lnTo>
                  <a:pt x="246" y="385"/>
                </a:lnTo>
                <a:lnTo>
                  <a:pt x="255" y="397"/>
                </a:lnTo>
                <a:lnTo>
                  <a:pt x="264" y="410"/>
                </a:lnTo>
                <a:lnTo>
                  <a:pt x="272" y="422"/>
                </a:lnTo>
                <a:lnTo>
                  <a:pt x="280" y="435"/>
                </a:lnTo>
                <a:lnTo>
                  <a:pt x="288" y="447"/>
                </a:lnTo>
                <a:lnTo>
                  <a:pt x="295" y="460"/>
                </a:lnTo>
                <a:lnTo>
                  <a:pt x="302" y="472"/>
                </a:lnTo>
                <a:lnTo>
                  <a:pt x="309" y="484"/>
                </a:lnTo>
                <a:lnTo>
                  <a:pt x="316" y="497"/>
                </a:lnTo>
                <a:lnTo>
                  <a:pt x="322" y="509"/>
                </a:lnTo>
                <a:lnTo>
                  <a:pt x="328" y="521"/>
                </a:lnTo>
                <a:lnTo>
                  <a:pt x="334" y="533"/>
                </a:lnTo>
                <a:lnTo>
                  <a:pt x="339" y="546"/>
                </a:lnTo>
                <a:lnTo>
                  <a:pt x="344" y="558"/>
                </a:lnTo>
                <a:lnTo>
                  <a:pt x="349" y="570"/>
                </a:lnTo>
                <a:lnTo>
                  <a:pt x="354" y="582"/>
                </a:lnTo>
                <a:lnTo>
                  <a:pt x="358" y="593"/>
                </a:lnTo>
                <a:lnTo>
                  <a:pt x="363" y="605"/>
                </a:lnTo>
                <a:lnTo>
                  <a:pt x="367" y="617"/>
                </a:lnTo>
                <a:lnTo>
                  <a:pt x="370" y="628"/>
                </a:lnTo>
                <a:lnTo>
                  <a:pt x="374" y="640"/>
                </a:lnTo>
                <a:lnTo>
                  <a:pt x="377" y="651"/>
                </a:lnTo>
                <a:lnTo>
                  <a:pt x="380" y="663"/>
                </a:lnTo>
                <a:lnTo>
                  <a:pt x="383" y="674"/>
                </a:lnTo>
                <a:lnTo>
                  <a:pt x="386" y="685"/>
                </a:lnTo>
                <a:lnTo>
                  <a:pt x="388" y="696"/>
                </a:lnTo>
                <a:lnTo>
                  <a:pt x="391" y="707"/>
                </a:lnTo>
                <a:lnTo>
                  <a:pt x="393" y="718"/>
                </a:lnTo>
                <a:lnTo>
                  <a:pt x="394" y="728"/>
                </a:lnTo>
                <a:lnTo>
                  <a:pt x="396" y="739"/>
                </a:lnTo>
                <a:lnTo>
                  <a:pt x="398" y="748"/>
                </a:lnTo>
                <a:lnTo>
                  <a:pt x="399" y="757"/>
                </a:lnTo>
                <a:lnTo>
                  <a:pt x="400" y="766"/>
                </a:lnTo>
                <a:lnTo>
                  <a:pt x="402" y="773"/>
                </a:lnTo>
                <a:lnTo>
                  <a:pt x="403" y="781"/>
                </a:lnTo>
                <a:lnTo>
                  <a:pt x="404" y="787"/>
                </a:lnTo>
                <a:lnTo>
                  <a:pt x="404" y="793"/>
                </a:lnTo>
                <a:lnTo>
                  <a:pt x="405" y="798"/>
                </a:lnTo>
                <a:lnTo>
                  <a:pt x="406" y="802"/>
                </a:lnTo>
                <a:lnTo>
                  <a:pt x="407" y="806"/>
                </a:lnTo>
                <a:lnTo>
                  <a:pt x="407" y="809"/>
                </a:lnTo>
                <a:lnTo>
                  <a:pt x="407" y="811"/>
                </a:lnTo>
                <a:lnTo>
                  <a:pt x="408" y="813"/>
                </a:lnTo>
                <a:lnTo>
                  <a:pt x="408" y="814"/>
                </a:lnTo>
                <a:lnTo>
                  <a:pt x="409" y="813"/>
                </a:lnTo>
                <a:lnTo>
                  <a:pt x="410" y="813"/>
                </a:lnTo>
                <a:lnTo>
                  <a:pt x="412" y="812"/>
                </a:lnTo>
                <a:lnTo>
                  <a:pt x="414" y="810"/>
                </a:lnTo>
                <a:lnTo>
                  <a:pt x="417" y="809"/>
                </a:lnTo>
                <a:lnTo>
                  <a:pt x="421" y="807"/>
                </a:lnTo>
                <a:lnTo>
                  <a:pt x="425" y="805"/>
                </a:lnTo>
                <a:lnTo>
                  <a:pt x="429" y="802"/>
                </a:lnTo>
                <a:lnTo>
                  <a:pt x="434" y="799"/>
                </a:lnTo>
                <a:lnTo>
                  <a:pt x="440" y="796"/>
                </a:lnTo>
                <a:lnTo>
                  <a:pt x="446" y="793"/>
                </a:lnTo>
                <a:lnTo>
                  <a:pt x="452" y="789"/>
                </a:lnTo>
                <a:lnTo>
                  <a:pt x="459" y="786"/>
                </a:lnTo>
                <a:lnTo>
                  <a:pt x="467" y="781"/>
                </a:lnTo>
                <a:lnTo>
                  <a:pt x="475" y="777"/>
                </a:lnTo>
                <a:lnTo>
                  <a:pt x="484" y="772"/>
                </a:lnTo>
                <a:lnTo>
                  <a:pt x="492" y="767"/>
                </a:lnTo>
                <a:lnTo>
                  <a:pt x="501" y="761"/>
                </a:lnTo>
                <a:lnTo>
                  <a:pt x="510" y="756"/>
                </a:lnTo>
                <a:lnTo>
                  <a:pt x="519" y="749"/>
                </a:lnTo>
                <a:lnTo>
                  <a:pt x="529" y="743"/>
                </a:lnTo>
                <a:lnTo>
                  <a:pt x="538" y="736"/>
                </a:lnTo>
                <a:lnTo>
                  <a:pt x="548" y="729"/>
                </a:lnTo>
                <a:lnTo>
                  <a:pt x="557" y="721"/>
                </a:lnTo>
                <a:lnTo>
                  <a:pt x="567" y="713"/>
                </a:lnTo>
                <a:lnTo>
                  <a:pt x="578" y="705"/>
                </a:lnTo>
                <a:lnTo>
                  <a:pt x="588" y="696"/>
                </a:lnTo>
                <a:lnTo>
                  <a:pt x="598" y="687"/>
                </a:lnTo>
                <a:lnTo>
                  <a:pt x="609" y="678"/>
                </a:lnTo>
                <a:lnTo>
                  <a:pt x="620" y="668"/>
                </a:lnTo>
                <a:lnTo>
                  <a:pt x="630" y="658"/>
                </a:lnTo>
                <a:lnTo>
                  <a:pt x="641" y="648"/>
                </a:lnTo>
                <a:lnTo>
                  <a:pt x="652" y="637"/>
                </a:lnTo>
                <a:lnTo>
                  <a:pt x="663" y="627"/>
                </a:lnTo>
                <a:lnTo>
                  <a:pt x="673" y="616"/>
                </a:lnTo>
                <a:lnTo>
                  <a:pt x="683" y="605"/>
                </a:lnTo>
                <a:lnTo>
                  <a:pt x="693" y="594"/>
                </a:lnTo>
                <a:lnTo>
                  <a:pt x="703" y="582"/>
                </a:lnTo>
                <a:lnTo>
                  <a:pt x="712" y="571"/>
                </a:lnTo>
                <a:lnTo>
                  <a:pt x="722" y="559"/>
                </a:lnTo>
                <a:lnTo>
                  <a:pt x="731" y="547"/>
                </a:lnTo>
                <a:lnTo>
                  <a:pt x="740" y="535"/>
                </a:lnTo>
                <a:lnTo>
                  <a:pt x="749" y="522"/>
                </a:lnTo>
                <a:lnTo>
                  <a:pt x="757" y="510"/>
                </a:lnTo>
                <a:lnTo>
                  <a:pt x="766" y="497"/>
                </a:lnTo>
                <a:lnTo>
                  <a:pt x="774" y="484"/>
                </a:lnTo>
                <a:lnTo>
                  <a:pt x="782" y="471"/>
                </a:lnTo>
                <a:lnTo>
                  <a:pt x="790" y="458"/>
                </a:lnTo>
                <a:lnTo>
                  <a:pt x="797" y="445"/>
                </a:lnTo>
                <a:lnTo>
                  <a:pt x="804" y="432"/>
                </a:lnTo>
                <a:lnTo>
                  <a:pt x="811" y="420"/>
                </a:lnTo>
                <a:lnTo>
                  <a:pt x="818" y="407"/>
                </a:lnTo>
                <a:lnTo>
                  <a:pt x="824" y="395"/>
                </a:lnTo>
                <a:lnTo>
                  <a:pt x="830" y="382"/>
                </a:lnTo>
                <a:lnTo>
                  <a:pt x="836" y="370"/>
                </a:lnTo>
                <a:lnTo>
                  <a:pt x="841" y="358"/>
                </a:lnTo>
                <a:lnTo>
                  <a:pt x="846" y="346"/>
                </a:lnTo>
                <a:lnTo>
                  <a:pt x="851" y="334"/>
                </a:lnTo>
                <a:lnTo>
                  <a:pt x="856" y="322"/>
                </a:lnTo>
                <a:lnTo>
                  <a:pt x="860" y="311"/>
                </a:lnTo>
                <a:lnTo>
                  <a:pt x="864" y="299"/>
                </a:lnTo>
                <a:lnTo>
                  <a:pt x="868" y="288"/>
                </a:lnTo>
                <a:lnTo>
                  <a:pt x="871" y="277"/>
                </a:lnTo>
                <a:lnTo>
                  <a:pt x="874" y="266"/>
                </a:lnTo>
                <a:lnTo>
                  <a:pt x="877" y="255"/>
                </a:lnTo>
                <a:lnTo>
                  <a:pt x="880" y="245"/>
                </a:lnTo>
                <a:lnTo>
                  <a:pt x="883" y="235"/>
                </a:lnTo>
                <a:lnTo>
                  <a:pt x="885" y="226"/>
                </a:lnTo>
                <a:lnTo>
                  <a:pt x="887" y="216"/>
                </a:lnTo>
                <a:lnTo>
                  <a:pt x="890" y="208"/>
                </a:lnTo>
                <a:lnTo>
                  <a:pt x="892" y="199"/>
                </a:lnTo>
                <a:lnTo>
                  <a:pt x="894" y="191"/>
                </a:lnTo>
                <a:lnTo>
                  <a:pt x="896" y="183"/>
                </a:lnTo>
                <a:lnTo>
                  <a:pt x="897" y="176"/>
                </a:lnTo>
                <a:lnTo>
                  <a:pt x="899" y="169"/>
                </a:lnTo>
                <a:lnTo>
                  <a:pt x="900" y="162"/>
                </a:lnTo>
                <a:lnTo>
                  <a:pt x="901" y="156"/>
                </a:lnTo>
                <a:lnTo>
                  <a:pt x="903" y="150"/>
                </a:lnTo>
                <a:lnTo>
                  <a:pt x="904" y="144"/>
                </a:lnTo>
                <a:lnTo>
                  <a:pt x="904" y="139"/>
                </a:lnTo>
                <a:lnTo>
                  <a:pt x="905" y="134"/>
                </a:lnTo>
                <a:lnTo>
                  <a:pt x="906" y="129"/>
                </a:lnTo>
                <a:lnTo>
                  <a:pt x="907" y="125"/>
                </a:lnTo>
                <a:lnTo>
                  <a:pt x="907" y="121"/>
                </a:lnTo>
                <a:lnTo>
                  <a:pt x="908" y="117"/>
                </a:lnTo>
                <a:lnTo>
                  <a:pt x="909" y="114"/>
                </a:lnTo>
                <a:lnTo>
                  <a:pt x="909" y="111"/>
                </a:lnTo>
                <a:lnTo>
                  <a:pt x="910" y="109"/>
                </a:lnTo>
                <a:lnTo>
                  <a:pt x="910" y="106"/>
                </a:lnTo>
                <a:lnTo>
                  <a:pt x="910" y="104"/>
                </a:lnTo>
                <a:lnTo>
                  <a:pt x="911" y="103"/>
                </a:lnTo>
                <a:lnTo>
                  <a:pt x="911" y="101"/>
                </a:lnTo>
                <a:lnTo>
                  <a:pt x="911" y="100"/>
                </a:lnTo>
                <a:lnTo>
                  <a:pt x="912" y="100"/>
                </a:lnTo>
                <a:lnTo>
                  <a:pt x="912" y="99"/>
                </a:lnTo>
                <a:lnTo>
                  <a:pt x="911" y="99"/>
                </a:lnTo>
                <a:lnTo>
                  <a:pt x="910" y="98"/>
                </a:lnTo>
                <a:lnTo>
                  <a:pt x="909" y="97"/>
                </a:lnTo>
                <a:lnTo>
                  <a:pt x="907" y="96"/>
                </a:lnTo>
                <a:lnTo>
                  <a:pt x="904" y="95"/>
                </a:lnTo>
                <a:lnTo>
                  <a:pt x="902" y="94"/>
                </a:lnTo>
                <a:lnTo>
                  <a:pt x="898" y="92"/>
                </a:lnTo>
                <a:lnTo>
                  <a:pt x="895" y="90"/>
                </a:lnTo>
                <a:lnTo>
                  <a:pt x="891" y="88"/>
                </a:lnTo>
                <a:lnTo>
                  <a:pt x="886" y="86"/>
                </a:lnTo>
                <a:lnTo>
                  <a:pt x="881" y="84"/>
                </a:lnTo>
                <a:lnTo>
                  <a:pt x="875" y="81"/>
                </a:lnTo>
                <a:lnTo>
                  <a:pt x="869" y="78"/>
                </a:lnTo>
                <a:lnTo>
                  <a:pt x="863" y="75"/>
                </a:lnTo>
                <a:lnTo>
                  <a:pt x="856" y="72"/>
                </a:lnTo>
                <a:lnTo>
                  <a:pt x="849" y="69"/>
                </a:lnTo>
                <a:lnTo>
                  <a:pt x="841" y="65"/>
                </a:lnTo>
                <a:lnTo>
                  <a:pt x="833" y="62"/>
                </a:lnTo>
                <a:lnTo>
                  <a:pt x="825" y="59"/>
                </a:lnTo>
                <a:lnTo>
                  <a:pt x="816" y="56"/>
                </a:lnTo>
                <a:lnTo>
                  <a:pt x="807" y="52"/>
                </a:lnTo>
                <a:lnTo>
                  <a:pt x="798" y="49"/>
                </a:lnTo>
                <a:lnTo>
                  <a:pt x="788" y="46"/>
                </a:lnTo>
                <a:lnTo>
                  <a:pt x="778" y="43"/>
                </a:lnTo>
                <a:lnTo>
                  <a:pt x="768" y="40"/>
                </a:lnTo>
                <a:lnTo>
                  <a:pt x="757" y="37"/>
                </a:lnTo>
                <a:lnTo>
                  <a:pt x="746" y="34"/>
                </a:lnTo>
                <a:lnTo>
                  <a:pt x="735" y="31"/>
                </a:lnTo>
                <a:lnTo>
                  <a:pt x="723" y="28"/>
                </a:lnTo>
                <a:lnTo>
                  <a:pt x="711" y="25"/>
                </a:lnTo>
                <a:lnTo>
                  <a:pt x="699" y="22"/>
                </a:lnTo>
                <a:lnTo>
                  <a:pt x="686" y="19"/>
                </a:lnTo>
                <a:lnTo>
                  <a:pt x="673" y="16"/>
                </a:lnTo>
                <a:lnTo>
                  <a:pt x="660" y="14"/>
                </a:lnTo>
                <a:lnTo>
                  <a:pt x="647" y="12"/>
                </a:lnTo>
                <a:lnTo>
                  <a:pt x="633" y="10"/>
                </a:lnTo>
                <a:lnTo>
                  <a:pt x="620" y="8"/>
                </a:lnTo>
                <a:lnTo>
                  <a:pt x="606" y="6"/>
                </a:lnTo>
                <a:lnTo>
                  <a:pt x="592" y="5"/>
                </a:lnTo>
                <a:lnTo>
                  <a:pt x="578" y="4"/>
                </a:lnTo>
                <a:lnTo>
                  <a:pt x="564" y="3"/>
                </a:lnTo>
                <a:lnTo>
                  <a:pt x="549" y="2"/>
                </a:lnTo>
                <a:lnTo>
                  <a:pt x="534" y="1"/>
                </a:lnTo>
                <a:lnTo>
                  <a:pt x="520" y="1"/>
                </a:lnTo>
                <a:lnTo>
                  <a:pt x="505" y="0"/>
                </a:lnTo>
                <a:lnTo>
                  <a:pt x="489" y="0"/>
                </a:lnTo>
                <a:lnTo>
                  <a:pt x="474" y="1"/>
                </a:lnTo>
                <a:lnTo>
                  <a:pt x="459" y="1"/>
                </a:lnTo>
                <a:lnTo>
                  <a:pt x="443" y="2"/>
                </a:lnTo>
                <a:lnTo>
                  <a:pt x="428" y="2"/>
                </a:lnTo>
                <a:lnTo>
                  <a:pt x="413" y="4"/>
                </a:lnTo>
                <a:lnTo>
                  <a:pt x="399" y="5"/>
                </a:lnTo>
                <a:lnTo>
                  <a:pt x="384" y="6"/>
                </a:lnTo>
                <a:lnTo>
                  <a:pt x="370" y="8"/>
                </a:lnTo>
                <a:lnTo>
                  <a:pt x="355" y="10"/>
                </a:lnTo>
                <a:lnTo>
                  <a:pt x="341" y="13"/>
                </a:lnTo>
                <a:lnTo>
                  <a:pt x="327" y="15"/>
                </a:lnTo>
                <a:lnTo>
                  <a:pt x="313" y="18"/>
                </a:lnTo>
                <a:lnTo>
                  <a:pt x="300" y="21"/>
                </a:lnTo>
                <a:lnTo>
                  <a:pt x="286" y="24"/>
                </a:lnTo>
                <a:lnTo>
                  <a:pt x="273" y="28"/>
                </a:lnTo>
                <a:lnTo>
                  <a:pt x="259" y="31"/>
                </a:lnTo>
                <a:lnTo>
                  <a:pt x="246" y="35"/>
                </a:lnTo>
                <a:lnTo>
                  <a:pt x="233" y="39"/>
                </a:lnTo>
                <a:lnTo>
                  <a:pt x="221" y="44"/>
                </a:lnTo>
                <a:lnTo>
                  <a:pt x="208" y="48"/>
                </a:lnTo>
                <a:lnTo>
                  <a:pt x="196" y="52"/>
                </a:lnTo>
                <a:lnTo>
                  <a:pt x="184" y="56"/>
                </a:lnTo>
                <a:lnTo>
                  <a:pt x="173" y="61"/>
                </a:lnTo>
                <a:lnTo>
                  <a:pt x="161" y="65"/>
                </a:lnTo>
                <a:lnTo>
                  <a:pt x="150" y="70"/>
                </a:lnTo>
                <a:lnTo>
                  <a:pt x="139" y="74"/>
                </a:lnTo>
                <a:lnTo>
                  <a:pt x="129" y="79"/>
                </a:lnTo>
                <a:lnTo>
                  <a:pt x="118" y="84"/>
                </a:lnTo>
                <a:lnTo>
                  <a:pt x="108" y="88"/>
                </a:lnTo>
                <a:lnTo>
                  <a:pt x="99" y="93"/>
                </a:lnTo>
                <a:lnTo>
                  <a:pt x="89" y="98"/>
                </a:lnTo>
                <a:lnTo>
                  <a:pt x="80" y="103"/>
                </a:lnTo>
                <a:lnTo>
                  <a:pt x="71" y="108"/>
                </a:lnTo>
                <a:lnTo>
                  <a:pt x="62" y="113"/>
                </a:lnTo>
                <a:lnTo>
                  <a:pt x="54" y="117"/>
                </a:lnTo>
                <a:lnTo>
                  <a:pt x="47" y="121"/>
                </a:lnTo>
                <a:lnTo>
                  <a:pt x="40" y="125"/>
                </a:lnTo>
                <a:lnTo>
                  <a:pt x="33" y="129"/>
                </a:lnTo>
                <a:lnTo>
                  <a:pt x="27" y="132"/>
                </a:lnTo>
                <a:lnTo>
                  <a:pt x="22" y="135"/>
                </a:lnTo>
                <a:lnTo>
                  <a:pt x="17" y="138"/>
                </a:lnTo>
                <a:lnTo>
                  <a:pt x="13" y="140"/>
                </a:lnTo>
                <a:lnTo>
                  <a:pt x="10" y="142"/>
                </a:lnTo>
                <a:lnTo>
                  <a:pt x="7" y="144"/>
                </a:lnTo>
                <a:lnTo>
                  <a:pt x="4" y="145"/>
                </a:lnTo>
                <a:lnTo>
                  <a:pt x="2" y="146"/>
                </a:lnTo>
                <a:lnTo>
                  <a:pt x="1" y="147"/>
                </a:lnTo>
                <a:lnTo>
                  <a:pt x="0" y="148"/>
                </a:lnTo>
                <a:lnTo>
                  <a:pt x="1" y="149"/>
                </a:lnTo>
                <a:lnTo>
                  <a:pt x="2" y="149"/>
                </a:lnTo>
                <a:lnTo>
                  <a:pt x="4" y="151"/>
                </a:lnTo>
                <a:lnTo>
                  <a:pt x="6" y="153"/>
                </a:lnTo>
                <a:lnTo>
                  <a:pt x="9" y="155"/>
                </a:lnTo>
                <a:lnTo>
                  <a:pt x="13" y="157"/>
                </a:lnTo>
                <a:lnTo>
                  <a:pt x="17" y="160"/>
                </a:lnTo>
                <a:lnTo>
                  <a:pt x="21" y="163"/>
                </a:lnTo>
                <a:lnTo>
                  <a:pt x="27" y="167"/>
                </a:lnTo>
                <a:lnTo>
                  <a:pt x="32" y="171"/>
                </a:lnTo>
                <a:lnTo>
                  <a:pt x="38" y="175"/>
                </a:lnTo>
                <a:lnTo>
                  <a:pt x="45" y="180"/>
                </a:lnTo>
                <a:lnTo>
                  <a:pt x="53" y="185"/>
                </a:lnTo>
                <a:lnTo>
                  <a:pt x="60" y="191"/>
                </a:lnTo>
                <a:lnTo>
                  <a:pt x="69" y="197"/>
                </a:lnTo>
                <a:close/>
              </a:path>
            </a:pathLst>
          </a:custGeom>
          <a:solidFill>
            <a:srgbClr val="80808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1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261283" y="3130967"/>
            <a:ext cx="1958927" cy="1333050"/>
          </a:xfrm>
          <a:custGeom>
            <a:avLst/>
            <a:gdLst>
              <a:gd name="T0" fmla="*/ 2040924568 w 911"/>
              <a:gd name="T1" fmla="*/ 556456943 h 814"/>
              <a:gd name="T2" fmla="*/ 1938504703 w 911"/>
              <a:gd name="T3" fmla="*/ 656928358 h 814"/>
              <a:gd name="T4" fmla="*/ 1826091152 w 911"/>
              <a:gd name="T5" fmla="*/ 778010240 h 814"/>
              <a:gd name="T6" fmla="*/ 1708681549 w 911"/>
              <a:gd name="T7" fmla="*/ 922275488 h 814"/>
              <a:gd name="T8" fmla="*/ 1603762867 w 911"/>
              <a:gd name="T9" fmla="*/ 1079424485 h 814"/>
              <a:gd name="T10" fmla="*/ 1508836289 w 911"/>
              <a:gd name="T11" fmla="*/ 1249452416 h 814"/>
              <a:gd name="T12" fmla="*/ 1426399053 w 911"/>
              <a:gd name="T13" fmla="*/ 1429786383 h 814"/>
              <a:gd name="T14" fmla="*/ 1358951555 w 911"/>
              <a:gd name="T15" fmla="*/ 1599814314 h 814"/>
              <a:gd name="T16" fmla="*/ 1313985502 w 911"/>
              <a:gd name="T17" fmla="*/ 1756961705 h 814"/>
              <a:gd name="T18" fmla="*/ 1284009188 w 911"/>
              <a:gd name="T19" fmla="*/ 1898652450 h 814"/>
              <a:gd name="T20" fmla="*/ 1266522214 w 911"/>
              <a:gd name="T21" fmla="*/ 2006852189 h 814"/>
              <a:gd name="T22" fmla="*/ 1254032873 w 911"/>
              <a:gd name="T23" fmla="*/ 2073834202 h 814"/>
              <a:gd name="T24" fmla="*/ 1251534056 w 911"/>
              <a:gd name="T25" fmla="*/ 2094443064 h 814"/>
              <a:gd name="T26" fmla="*/ 1234047083 w 911"/>
              <a:gd name="T27" fmla="*/ 2084138633 h 814"/>
              <a:gd name="T28" fmla="*/ 1184086558 w 911"/>
              <a:gd name="T29" fmla="*/ 2055799842 h 814"/>
              <a:gd name="T30" fmla="*/ 1104148138 w 911"/>
              <a:gd name="T31" fmla="*/ 2009428296 h 814"/>
              <a:gd name="T32" fmla="*/ 996730640 w 911"/>
              <a:gd name="T33" fmla="*/ 1945023996 h 814"/>
              <a:gd name="T34" fmla="*/ 881819853 w 911"/>
              <a:gd name="T35" fmla="*/ 1857433120 h 814"/>
              <a:gd name="T36" fmla="*/ 754418145 w 911"/>
              <a:gd name="T37" fmla="*/ 1749233382 h 814"/>
              <a:gd name="T38" fmla="*/ 622020384 w 911"/>
              <a:gd name="T39" fmla="*/ 1620423176 h 814"/>
              <a:gd name="T40" fmla="*/ 499614728 w 911"/>
              <a:gd name="T41" fmla="*/ 1478734036 h 814"/>
              <a:gd name="T42" fmla="*/ 389699994 w 911"/>
              <a:gd name="T43" fmla="*/ 1324162752 h 814"/>
              <a:gd name="T44" fmla="*/ 294771836 w 911"/>
              <a:gd name="T45" fmla="*/ 1159285432 h 814"/>
              <a:gd name="T46" fmla="*/ 212336180 w 911"/>
              <a:gd name="T47" fmla="*/ 996985825 h 814"/>
              <a:gd name="T48" fmla="*/ 147385918 w 911"/>
              <a:gd name="T49" fmla="*/ 839838433 h 814"/>
              <a:gd name="T50" fmla="*/ 94926577 w 911"/>
              <a:gd name="T51" fmla="*/ 687843257 h 814"/>
              <a:gd name="T52" fmla="*/ 57455393 w 911"/>
              <a:gd name="T53" fmla="*/ 553880835 h 814"/>
              <a:gd name="T54" fmla="*/ 29976315 w 911"/>
              <a:gd name="T55" fmla="*/ 445681097 h 814"/>
              <a:gd name="T56" fmla="*/ 17486974 w 911"/>
              <a:gd name="T57" fmla="*/ 360666329 h 814"/>
              <a:gd name="T58" fmla="*/ 7494869 w 911"/>
              <a:gd name="T59" fmla="*/ 298838137 h 814"/>
              <a:gd name="T60" fmla="*/ 2498816 w 911"/>
              <a:gd name="T61" fmla="*/ 262771022 h 814"/>
              <a:gd name="T62" fmla="*/ 0 w 911"/>
              <a:gd name="T63" fmla="*/ 247314375 h 814"/>
              <a:gd name="T64" fmla="*/ 7494869 w 911"/>
              <a:gd name="T65" fmla="*/ 242162160 h 814"/>
              <a:gd name="T66" fmla="*/ 42467236 w 911"/>
              <a:gd name="T67" fmla="*/ 224127800 h 814"/>
              <a:gd name="T68" fmla="*/ 107417498 w 911"/>
              <a:gd name="T69" fmla="*/ 195790614 h 814"/>
              <a:gd name="T70" fmla="*/ 197348023 w 911"/>
              <a:gd name="T71" fmla="*/ 157147392 h 814"/>
              <a:gd name="T72" fmla="*/ 309761574 w 911"/>
              <a:gd name="T73" fmla="*/ 118504170 h 814"/>
              <a:gd name="T74" fmla="*/ 444656571 w 911"/>
              <a:gd name="T75" fmla="*/ 79862552 h 814"/>
              <a:gd name="T76" fmla="*/ 602036174 w 911"/>
              <a:gd name="T77" fmla="*/ 41219330 h 814"/>
              <a:gd name="T78" fmla="*/ 769406302 w 911"/>
              <a:gd name="T79" fmla="*/ 15456647 h 814"/>
              <a:gd name="T80" fmla="*/ 946770115 w 911"/>
              <a:gd name="T81" fmla="*/ 2576108 h 814"/>
              <a:gd name="T82" fmla="*/ 1136623270 w 911"/>
              <a:gd name="T83" fmla="*/ 2576108 h 814"/>
              <a:gd name="T84" fmla="*/ 1321480371 w 911"/>
              <a:gd name="T85" fmla="*/ 15456647 h 814"/>
              <a:gd name="T86" fmla="*/ 1498842604 w 911"/>
              <a:gd name="T87" fmla="*/ 46371546 h 814"/>
              <a:gd name="T88" fmla="*/ 1666214312 w 911"/>
              <a:gd name="T89" fmla="*/ 90166984 h 814"/>
              <a:gd name="T90" fmla="*/ 1818596283 w 911"/>
              <a:gd name="T91" fmla="*/ 144266853 h 814"/>
              <a:gd name="T92" fmla="*/ 1955990096 w 911"/>
              <a:gd name="T93" fmla="*/ 203518937 h 814"/>
              <a:gd name="T94" fmla="*/ 2075898516 w 911"/>
              <a:gd name="T95" fmla="*/ 265347130 h 814"/>
              <a:gd name="T96" fmla="*/ 2147483646 w 911"/>
              <a:gd name="T97" fmla="*/ 322023107 h 814"/>
              <a:gd name="T98" fmla="*/ 2147483646 w 911"/>
              <a:gd name="T99" fmla="*/ 360666329 h 814"/>
              <a:gd name="T100" fmla="*/ 2147483646 w 911"/>
              <a:gd name="T101" fmla="*/ 378700689 h 814"/>
              <a:gd name="T102" fmla="*/ 2147483646 w 911"/>
              <a:gd name="T103" fmla="*/ 383852905 h 814"/>
              <a:gd name="T104" fmla="*/ 2147483646 w 911"/>
              <a:gd name="T105" fmla="*/ 407037875 h 814"/>
              <a:gd name="T106" fmla="*/ 2147483646 w 911"/>
              <a:gd name="T107" fmla="*/ 453409421 h 81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1" h="814">
                <a:moveTo>
                  <a:pt x="849" y="191"/>
                </a:moveTo>
                <a:lnTo>
                  <a:pt x="841" y="197"/>
                </a:lnTo>
                <a:lnTo>
                  <a:pt x="833" y="203"/>
                </a:lnTo>
                <a:lnTo>
                  <a:pt x="825" y="209"/>
                </a:lnTo>
                <a:lnTo>
                  <a:pt x="817" y="216"/>
                </a:lnTo>
                <a:lnTo>
                  <a:pt x="809" y="223"/>
                </a:lnTo>
                <a:lnTo>
                  <a:pt x="801" y="230"/>
                </a:lnTo>
                <a:lnTo>
                  <a:pt x="793" y="238"/>
                </a:lnTo>
                <a:lnTo>
                  <a:pt x="784" y="246"/>
                </a:lnTo>
                <a:lnTo>
                  <a:pt x="776" y="255"/>
                </a:lnTo>
                <a:lnTo>
                  <a:pt x="767" y="263"/>
                </a:lnTo>
                <a:lnTo>
                  <a:pt x="758" y="273"/>
                </a:lnTo>
                <a:lnTo>
                  <a:pt x="749" y="282"/>
                </a:lnTo>
                <a:lnTo>
                  <a:pt x="740" y="292"/>
                </a:lnTo>
                <a:lnTo>
                  <a:pt x="731" y="302"/>
                </a:lnTo>
                <a:lnTo>
                  <a:pt x="721" y="313"/>
                </a:lnTo>
                <a:lnTo>
                  <a:pt x="712" y="324"/>
                </a:lnTo>
                <a:lnTo>
                  <a:pt x="703" y="335"/>
                </a:lnTo>
                <a:lnTo>
                  <a:pt x="693" y="346"/>
                </a:lnTo>
                <a:lnTo>
                  <a:pt x="684" y="358"/>
                </a:lnTo>
                <a:lnTo>
                  <a:pt x="675" y="370"/>
                </a:lnTo>
                <a:lnTo>
                  <a:pt x="667" y="382"/>
                </a:lnTo>
                <a:lnTo>
                  <a:pt x="658" y="394"/>
                </a:lnTo>
                <a:lnTo>
                  <a:pt x="650" y="407"/>
                </a:lnTo>
                <a:lnTo>
                  <a:pt x="642" y="419"/>
                </a:lnTo>
                <a:lnTo>
                  <a:pt x="634" y="432"/>
                </a:lnTo>
                <a:lnTo>
                  <a:pt x="626" y="445"/>
                </a:lnTo>
                <a:lnTo>
                  <a:pt x="618" y="458"/>
                </a:lnTo>
                <a:lnTo>
                  <a:pt x="611" y="471"/>
                </a:lnTo>
                <a:lnTo>
                  <a:pt x="604" y="485"/>
                </a:lnTo>
                <a:lnTo>
                  <a:pt x="597" y="499"/>
                </a:lnTo>
                <a:lnTo>
                  <a:pt x="590" y="513"/>
                </a:lnTo>
                <a:lnTo>
                  <a:pt x="583" y="527"/>
                </a:lnTo>
                <a:lnTo>
                  <a:pt x="577" y="541"/>
                </a:lnTo>
                <a:lnTo>
                  <a:pt x="571" y="555"/>
                </a:lnTo>
                <a:lnTo>
                  <a:pt x="565" y="569"/>
                </a:lnTo>
                <a:lnTo>
                  <a:pt x="559" y="582"/>
                </a:lnTo>
                <a:lnTo>
                  <a:pt x="554" y="595"/>
                </a:lnTo>
                <a:lnTo>
                  <a:pt x="549" y="609"/>
                </a:lnTo>
                <a:lnTo>
                  <a:pt x="544" y="621"/>
                </a:lnTo>
                <a:lnTo>
                  <a:pt x="540" y="634"/>
                </a:lnTo>
                <a:lnTo>
                  <a:pt x="536" y="646"/>
                </a:lnTo>
                <a:lnTo>
                  <a:pt x="532" y="659"/>
                </a:lnTo>
                <a:lnTo>
                  <a:pt x="529" y="671"/>
                </a:lnTo>
                <a:lnTo>
                  <a:pt x="526" y="682"/>
                </a:lnTo>
                <a:lnTo>
                  <a:pt x="523" y="694"/>
                </a:lnTo>
                <a:lnTo>
                  <a:pt x="520" y="705"/>
                </a:lnTo>
                <a:lnTo>
                  <a:pt x="518" y="716"/>
                </a:lnTo>
                <a:lnTo>
                  <a:pt x="516" y="727"/>
                </a:lnTo>
                <a:lnTo>
                  <a:pt x="514" y="737"/>
                </a:lnTo>
                <a:lnTo>
                  <a:pt x="512" y="747"/>
                </a:lnTo>
                <a:lnTo>
                  <a:pt x="511" y="756"/>
                </a:lnTo>
                <a:lnTo>
                  <a:pt x="510" y="765"/>
                </a:lnTo>
                <a:lnTo>
                  <a:pt x="508" y="772"/>
                </a:lnTo>
                <a:lnTo>
                  <a:pt x="507" y="779"/>
                </a:lnTo>
                <a:lnTo>
                  <a:pt x="506" y="786"/>
                </a:lnTo>
                <a:lnTo>
                  <a:pt x="505" y="791"/>
                </a:lnTo>
                <a:lnTo>
                  <a:pt x="504" y="797"/>
                </a:lnTo>
                <a:lnTo>
                  <a:pt x="503" y="801"/>
                </a:lnTo>
                <a:lnTo>
                  <a:pt x="502" y="805"/>
                </a:lnTo>
                <a:lnTo>
                  <a:pt x="502" y="808"/>
                </a:lnTo>
                <a:lnTo>
                  <a:pt x="501" y="810"/>
                </a:lnTo>
                <a:lnTo>
                  <a:pt x="501" y="812"/>
                </a:lnTo>
                <a:lnTo>
                  <a:pt x="501" y="813"/>
                </a:lnTo>
                <a:lnTo>
                  <a:pt x="500" y="813"/>
                </a:lnTo>
                <a:lnTo>
                  <a:pt x="499" y="812"/>
                </a:lnTo>
                <a:lnTo>
                  <a:pt x="498" y="812"/>
                </a:lnTo>
                <a:lnTo>
                  <a:pt x="496" y="811"/>
                </a:lnTo>
                <a:lnTo>
                  <a:pt x="494" y="809"/>
                </a:lnTo>
                <a:lnTo>
                  <a:pt x="491" y="808"/>
                </a:lnTo>
                <a:lnTo>
                  <a:pt x="487" y="806"/>
                </a:lnTo>
                <a:lnTo>
                  <a:pt x="483" y="804"/>
                </a:lnTo>
                <a:lnTo>
                  <a:pt x="479" y="801"/>
                </a:lnTo>
                <a:lnTo>
                  <a:pt x="474" y="798"/>
                </a:lnTo>
                <a:lnTo>
                  <a:pt x="469" y="795"/>
                </a:lnTo>
                <a:lnTo>
                  <a:pt x="463" y="792"/>
                </a:lnTo>
                <a:lnTo>
                  <a:pt x="456" y="788"/>
                </a:lnTo>
                <a:lnTo>
                  <a:pt x="449" y="785"/>
                </a:lnTo>
                <a:lnTo>
                  <a:pt x="442" y="780"/>
                </a:lnTo>
                <a:lnTo>
                  <a:pt x="434" y="776"/>
                </a:lnTo>
                <a:lnTo>
                  <a:pt x="425" y="771"/>
                </a:lnTo>
                <a:lnTo>
                  <a:pt x="417" y="766"/>
                </a:lnTo>
                <a:lnTo>
                  <a:pt x="408" y="760"/>
                </a:lnTo>
                <a:lnTo>
                  <a:pt x="399" y="755"/>
                </a:lnTo>
                <a:lnTo>
                  <a:pt x="390" y="749"/>
                </a:lnTo>
                <a:lnTo>
                  <a:pt x="381" y="742"/>
                </a:lnTo>
                <a:lnTo>
                  <a:pt x="372" y="735"/>
                </a:lnTo>
                <a:lnTo>
                  <a:pt x="362" y="728"/>
                </a:lnTo>
                <a:lnTo>
                  <a:pt x="353" y="721"/>
                </a:lnTo>
                <a:lnTo>
                  <a:pt x="343" y="713"/>
                </a:lnTo>
                <a:lnTo>
                  <a:pt x="333" y="705"/>
                </a:lnTo>
                <a:lnTo>
                  <a:pt x="323" y="696"/>
                </a:lnTo>
                <a:lnTo>
                  <a:pt x="312" y="688"/>
                </a:lnTo>
                <a:lnTo>
                  <a:pt x="302" y="679"/>
                </a:lnTo>
                <a:lnTo>
                  <a:pt x="291" y="669"/>
                </a:lnTo>
                <a:lnTo>
                  <a:pt x="280" y="659"/>
                </a:lnTo>
                <a:lnTo>
                  <a:pt x="270" y="649"/>
                </a:lnTo>
                <a:lnTo>
                  <a:pt x="259" y="639"/>
                </a:lnTo>
                <a:lnTo>
                  <a:pt x="249" y="629"/>
                </a:lnTo>
                <a:lnTo>
                  <a:pt x="239" y="618"/>
                </a:lnTo>
                <a:lnTo>
                  <a:pt x="229" y="607"/>
                </a:lnTo>
                <a:lnTo>
                  <a:pt x="219" y="596"/>
                </a:lnTo>
                <a:lnTo>
                  <a:pt x="209" y="585"/>
                </a:lnTo>
                <a:lnTo>
                  <a:pt x="200" y="574"/>
                </a:lnTo>
                <a:lnTo>
                  <a:pt x="191" y="562"/>
                </a:lnTo>
                <a:lnTo>
                  <a:pt x="182" y="551"/>
                </a:lnTo>
                <a:lnTo>
                  <a:pt x="173" y="539"/>
                </a:lnTo>
                <a:lnTo>
                  <a:pt x="164" y="526"/>
                </a:lnTo>
                <a:lnTo>
                  <a:pt x="156" y="514"/>
                </a:lnTo>
                <a:lnTo>
                  <a:pt x="148" y="502"/>
                </a:lnTo>
                <a:lnTo>
                  <a:pt x="140" y="489"/>
                </a:lnTo>
                <a:lnTo>
                  <a:pt x="132" y="476"/>
                </a:lnTo>
                <a:lnTo>
                  <a:pt x="125" y="463"/>
                </a:lnTo>
                <a:lnTo>
                  <a:pt x="118" y="450"/>
                </a:lnTo>
                <a:lnTo>
                  <a:pt x="111" y="437"/>
                </a:lnTo>
                <a:lnTo>
                  <a:pt x="104" y="424"/>
                </a:lnTo>
                <a:lnTo>
                  <a:pt x="97" y="412"/>
                </a:lnTo>
                <a:lnTo>
                  <a:pt x="91" y="399"/>
                </a:lnTo>
                <a:lnTo>
                  <a:pt x="85" y="387"/>
                </a:lnTo>
                <a:lnTo>
                  <a:pt x="79" y="374"/>
                </a:lnTo>
                <a:lnTo>
                  <a:pt x="74" y="362"/>
                </a:lnTo>
                <a:lnTo>
                  <a:pt x="68" y="350"/>
                </a:lnTo>
                <a:lnTo>
                  <a:pt x="63" y="338"/>
                </a:lnTo>
                <a:lnTo>
                  <a:pt x="59" y="326"/>
                </a:lnTo>
                <a:lnTo>
                  <a:pt x="54" y="314"/>
                </a:lnTo>
                <a:lnTo>
                  <a:pt x="50" y="302"/>
                </a:lnTo>
                <a:lnTo>
                  <a:pt x="46" y="290"/>
                </a:lnTo>
                <a:lnTo>
                  <a:pt x="42" y="278"/>
                </a:lnTo>
                <a:lnTo>
                  <a:pt x="38" y="267"/>
                </a:lnTo>
                <a:lnTo>
                  <a:pt x="35" y="255"/>
                </a:lnTo>
                <a:lnTo>
                  <a:pt x="32" y="245"/>
                </a:lnTo>
                <a:lnTo>
                  <a:pt x="28" y="234"/>
                </a:lnTo>
                <a:lnTo>
                  <a:pt x="26" y="224"/>
                </a:lnTo>
                <a:lnTo>
                  <a:pt x="23" y="215"/>
                </a:lnTo>
                <a:lnTo>
                  <a:pt x="20" y="206"/>
                </a:lnTo>
                <a:lnTo>
                  <a:pt x="18" y="197"/>
                </a:lnTo>
                <a:lnTo>
                  <a:pt x="16" y="188"/>
                </a:lnTo>
                <a:lnTo>
                  <a:pt x="14" y="180"/>
                </a:lnTo>
                <a:lnTo>
                  <a:pt x="12" y="173"/>
                </a:lnTo>
                <a:lnTo>
                  <a:pt x="11" y="165"/>
                </a:lnTo>
                <a:lnTo>
                  <a:pt x="9" y="158"/>
                </a:lnTo>
                <a:lnTo>
                  <a:pt x="8" y="152"/>
                </a:lnTo>
                <a:lnTo>
                  <a:pt x="7" y="146"/>
                </a:lnTo>
                <a:lnTo>
                  <a:pt x="7" y="140"/>
                </a:lnTo>
                <a:lnTo>
                  <a:pt x="6" y="135"/>
                </a:lnTo>
                <a:lnTo>
                  <a:pt x="5" y="130"/>
                </a:lnTo>
                <a:lnTo>
                  <a:pt x="5" y="125"/>
                </a:lnTo>
                <a:lnTo>
                  <a:pt x="4" y="120"/>
                </a:lnTo>
                <a:lnTo>
                  <a:pt x="3" y="116"/>
                </a:lnTo>
                <a:lnTo>
                  <a:pt x="3" y="113"/>
                </a:lnTo>
                <a:lnTo>
                  <a:pt x="2" y="110"/>
                </a:lnTo>
                <a:lnTo>
                  <a:pt x="2" y="107"/>
                </a:lnTo>
                <a:lnTo>
                  <a:pt x="2" y="104"/>
                </a:lnTo>
                <a:lnTo>
                  <a:pt x="1" y="102"/>
                </a:lnTo>
                <a:lnTo>
                  <a:pt x="1" y="100"/>
                </a:lnTo>
                <a:lnTo>
                  <a:pt x="1" y="98"/>
                </a:lnTo>
                <a:lnTo>
                  <a:pt x="0" y="97"/>
                </a:lnTo>
                <a:lnTo>
                  <a:pt x="0" y="96"/>
                </a:lnTo>
                <a:lnTo>
                  <a:pt x="0" y="95"/>
                </a:lnTo>
                <a:lnTo>
                  <a:pt x="1" y="95"/>
                </a:lnTo>
                <a:lnTo>
                  <a:pt x="2" y="94"/>
                </a:lnTo>
                <a:lnTo>
                  <a:pt x="3" y="94"/>
                </a:lnTo>
                <a:lnTo>
                  <a:pt x="5" y="93"/>
                </a:lnTo>
                <a:lnTo>
                  <a:pt x="7" y="92"/>
                </a:lnTo>
                <a:lnTo>
                  <a:pt x="10" y="91"/>
                </a:lnTo>
                <a:lnTo>
                  <a:pt x="14" y="89"/>
                </a:lnTo>
                <a:lnTo>
                  <a:pt x="17" y="87"/>
                </a:lnTo>
                <a:lnTo>
                  <a:pt x="22" y="86"/>
                </a:lnTo>
                <a:lnTo>
                  <a:pt x="26" y="83"/>
                </a:lnTo>
                <a:lnTo>
                  <a:pt x="31" y="81"/>
                </a:lnTo>
                <a:lnTo>
                  <a:pt x="37" y="79"/>
                </a:lnTo>
                <a:lnTo>
                  <a:pt x="43" y="76"/>
                </a:lnTo>
                <a:lnTo>
                  <a:pt x="49" y="73"/>
                </a:lnTo>
                <a:lnTo>
                  <a:pt x="56" y="70"/>
                </a:lnTo>
                <a:lnTo>
                  <a:pt x="64" y="67"/>
                </a:lnTo>
                <a:lnTo>
                  <a:pt x="71" y="64"/>
                </a:lnTo>
                <a:lnTo>
                  <a:pt x="79" y="61"/>
                </a:lnTo>
                <a:lnTo>
                  <a:pt x="88" y="58"/>
                </a:lnTo>
                <a:lnTo>
                  <a:pt x="96" y="55"/>
                </a:lnTo>
                <a:lnTo>
                  <a:pt x="105" y="52"/>
                </a:lnTo>
                <a:lnTo>
                  <a:pt x="115" y="49"/>
                </a:lnTo>
                <a:lnTo>
                  <a:pt x="124" y="46"/>
                </a:lnTo>
                <a:lnTo>
                  <a:pt x="135" y="43"/>
                </a:lnTo>
                <a:lnTo>
                  <a:pt x="145" y="40"/>
                </a:lnTo>
                <a:lnTo>
                  <a:pt x="156" y="37"/>
                </a:lnTo>
                <a:lnTo>
                  <a:pt x="167" y="34"/>
                </a:lnTo>
                <a:lnTo>
                  <a:pt x="178" y="31"/>
                </a:lnTo>
                <a:lnTo>
                  <a:pt x="190" y="28"/>
                </a:lnTo>
                <a:lnTo>
                  <a:pt x="202" y="25"/>
                </a:lnTo>
                <a:lnTo>
                  <a:pt x="215" y="22"/>
                </a:lnTo>
                <a:lnTo>
                  <a:pt x="228" y="19"/>
                </a:lnTo>
                <a:lnTo>
                  <a:pt x="241" y="16"/>
                </a:lnTo>
                <a:lnTo>
                  <a:pt x="254" y="14"/>
                </a:lnTo>
                <a:lnTo>
                  <a:pt x="267" y="12"/>
                </a:lnTo>
                <a:lnTo>
                  <a:pt x="281" y="10"/>
                </a:lnTo>
                <a:lnTo>
                  <a:pt x="294" y="8"/>
                </a:lnTo>
                <a:lnTo>
                  <a:pt x="308" y="6"/>
                </a:lnTo>
                <a:lnTo>
                  <a:pt x="322" y="5"/>
                </a:lnTo>
                <a:lnTo>
                  <a:pt x="336" y="3"/>
                </a:lnTo>
                <a:lnTo>
                  <a:pt x="350" y="2"/>
                </a:lnTo>
                <a:lnTo>
                  <a:pt x="365" y="2"/>
                </a:lnTo>
                <a:lnTo>
                  <a:pt x="379" y="1"/>
                </a:lnTo>
                <a:lnTo>
                  <a:pt x="394" y="1"/>
                </a:lnTo>
                <a:lnTo>
                  <a:pt x="409" y="0"/>
                </a:lnTo>
                <a:lnTo>
                  <a:pt x="424" y="0"/>
                </a:lnTo>
                <a:lnTo>
                  <a:pt x="440" y="0"/>
                </a:lnTo>
                <a:lnTo>
                  <a:pt x="455" y="1"/>
                </a:lnTo>
                <a:lnTo>
                  <a:pt x="470" y="1"/>
                </a:lnTo>
                <a:lnTo>
                  <a:pt x="485" y="2"/>
                </a:lnTo>
                <a:lnTo>
                  <a:pt x="500" y="3"/>
                </a:lnTo>
                <a:lnTo>
                  <a:pt x="514" y="5"/>
                </a:lnTo>
                <a:lnTo>
                  <a:pt x="529" y="6"/>
                </a:lnTo>
                <a:lnTo>
                  <a:pt x="543" y="8"/>
                </a:lnTo>
                <a:lnTo>
                  <a:pt x="558" y="10"/>
                </a:lnTo>
                <a:lnTo>
                  <a:pt x="572" y="13"/>
                </a:lnTo>
                <a:lnTo>
                  <a:pt x="586" y="15"/>
                </a:lnTo>
                <a:lnTo>
                  <a:pt x="600" y="18"/>
                </a:lnTo>
                <a:lnTo>
                  <a:pt x="613" y="21"/>
                </a:lnTo>
                <a:lnTo>
                  <a:pt x="627" y="24"/>
                </a:lnTo>
                <a:lnTo>
                  <a:pt x="640" y="28"/>
                </a:lnTo>
                <a:lnTo>
                  <a:pt x="654" y="31"/>
                </a:lnTo>
                <a:lnTo>
                  <a:pt x="667" y="35"/>
                </a:lnTo>
                <a:lnTo>
                  <a:pt x="680" y="39"/>
                </a:lnTo>
                <a:lnTo>
                  <a:pt x="692" y="44"/>
                </a:lnTo>
                <a:lnTo>
                  <a:pt x="705" y="48"/>
                </a:lnTo>
                <a:lnTo>
                  <a:pt x="717" y="52"/>
                </a:lnTo>
                <a:lnTo>
                  <a:pt x="728" y="56"/>
                </a:lnTo>
                <a:lnTo>
                  <a:pt x="740" y="61"/>
                </a:lnTo>
                <a:lnTo>
                  <a:pt x="751" y="65"/>
                </a:lnTo>
                <a:lnTo>
                  <a:pt x="762" y="70"/>
                </a:lnTo>
                <a:lnTo>
                  <a:pt x="773" y="74"/>
                </a:lnTo>
                <a:lnTo>
                  <a:pt x="783" y="79"/>
                </a:lnTo>
                <a:lnTo>
                  <a:pt x="794" y="84"/>
                </a:lnTo>
                <a:lnTo>
                  <a:pt x="803" y="88"/>
                </a:lnTo>
                <a:lnTo>
                  <a:pt x="813" y="93"/>
                </a:lnTo>
                <a:lnTo>
                  <a:pt x="822" y="98"/>
                </a:lnTo>
                <a:lnTo>
                  <a:pt x="831" y="103"/>
                </a:lnTo>
                <a:lnTo>
                  <a:pt x="840" y="108"/>
                </a:lnTo>
                <a:lnTo>
                  <a:pt x="849" y="112"/>
                </a:lnTo>
                <a:lnTo>
                  <a:pt x="856" y="117"/>
                </a:lnTo>
                <a:lnTo>
                  <a:pt x="864" y="121"/>
                </a:lnTo>
                <a:lnTo>
                  <a:pt x="871" y="125"/>
                </a:lnTo>
                <a:lnTo>
                  <a:pt x="877" y="129"/>
                </a:lnTo>
                <a:lnTo>
                  <a:pt x="882" y="132"/>
                </a:lnTo>
                <a:lnTo>
                  <a:pt x="888" y="135"/>
                </a:lnTo>
                <a:lnTo>
                  <a:pt x="892" y="137"/>
                </a:lnTo>
                <a:lnTo>
                  <a:pt x="896" y="140"/>
                </a:lnTo>
                <a:lnTo>
                  <a:pt x="900" y="142"/>
                </a:lnTo>
                <a:lnTo>
                  <a:pt x="903" y="143"/>
                </a:lnTo>
                <a:lnTo>
                  <a:pt x="905" y="145"/>
                </a:lnTo>
                <a:lnTo>
                  <a:pt x="907" y="146"/>
                </a:lnTo>
                <a:lnTo>
                  <a:pt x="908" y="147"/>
                </a:lnTo>
                <a:lnTo>
                  <a:pt x="909" y="147"/>
                </a:lnTo>
                <a:lnTo>
                  <a:pt x="910" y="147"/>
                </a:lnTo>
                <a:lnTo>
                  <a:pt x="909" y="147"/>
                </a:lnTo>
                <a:lnTo>
                  <a:pt x="909" y="148"/>
                </a:lnTo>
                <a:lnTo>
                  <a:pt x="907" y="149"/>
                </a:lnTo>
                <a:lnTo>
                  <a:pt x="906" y="150"/>
                </a:lnTo>
                <a:lnTo>
                  <a:pt x="904" y="152"/>
                </a:lnTo>
                <a:lnTo>
                  <a:pt x="901" y="153"/>
                </a:lnTo>
                <a:lnTo>
                  <a:pt x="898" y="156"/>
                </a:lnTo>
                <a:lnTo>
                  <a:pt x="894" y="158"/>
                </a:lnTo>
                <a:lnTo>
                  <a:pt x="890" y="161"/>
                </a:lnTo>
                <a:lnTo>
                  <a:pt x="886" y="164"/>
                </a:lnTo>
                <a:lnTo>
                  <a:pt x="881" y="168"/>
                </a:lnTo>
                <a:lnTo>
                  <a:pt x="875" y="172"/>
                </a:lnTo>
                <a:lnTo>
                  <a:pt x="869" y="176"/>
                </a:lnTo>
                <a:lnTo>
                  <a:pt x="863" y="181"/>
                </a:lnTo>
                <a:lnTo>
                  <a:pt x="856" y="186"/>
                </a:lnTo>
                <a:lnTo>
                  <a:pt x="849" y="19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2" name="Freeform 9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5338995" y="3369069"/>
            <a:ext cx="1762387" cy="1256922"/>
          </a:xfrm>
          <a:custGeom>
            <a:avLst/>
            <a:gdLst>
              <a:gd name="T0" fmla="*/ 1270750843 w 815"/>
              <a:gd name="T1" fmla="*/ 181520868 h 765"/>
              <a:gd name="T2" fmla="*/ 1361699049 w 815"/>
              <a:gd name="T3" fmla="*/ 269687870 h 765"/>
              <a:gd name="T4" fmla="*/ 1455174477 w 815"/>
              <a:gd name="T5" fmla="*/ 373413850 h 765"/>
              <a:gd name="T6" fmla="*/ 1553701171 w 815"/>
              <a:gd name="T7" fmla="*/ 492698808 h 765"/>
              <a:gd name="T8" fmla="*/ 1652229453 w 815"/>
              <a:gd name="T9" fmla="*/ 624950116 h 765"/>
              <a:gd name="T10" fmla="*/ 1735599172 w 815"/>
              <a:gd name="T11" fmla="*/ 754607189 h 765"/>
              <a:gd name="T12" fmla="*/ 1808863182 w 815"/>
              <a:gd name="T13" fmla="*/ 881671635 h 765"/>
              <a:gd name="T14" fmla="*/ 1869494259 w 815"/>
              <a:gd name="T15" fmla="*/ 1006143455 h 765"/>
              <a:gd name="T16" fmla="*/ 1920021217 w 815"/>
              <a:gd name="T17" fmla="*/ 1130613665 h 765"/>
              <a:gd name="T18" fmla="*/ 1960444055 w 815"/>
              <a:gd name="T19" fmla="*/ 1249900233 h 765"/>
              <a:gd name="T20" fmla="*/ 1993285227 w 815"/>
              <a:gd name="T21" fmla="*/ 1369185190 h 765"/>
              <a:gd name="T22" fmla="*/ 2018549500 w 815"/>
              <a:gd name="T23" fmla="*/ 1483283285 h 765"/>
              <a:gd name="T24" fmla="*/ 2036233697 w 815"/>
              <a:gd name="T25" fmla="*/ 1589601892 h 765"/>
              <a:gd name="T26" fmla="*/ 2048865039 w 815"/>
              <a:gd name="T27" fmla="*/ 1667396779 h 765"/>
              <a:gd name="T28" fmla="*/ 2056445116 w 815"/>
              <a:gd name="T29" fmla="*/ 1716666338 h 765"/>
              <a:gd name="T30" fmla="*/ 2056445116 w 815"/>
              <a:gd name="T31" fmla="*/ 1734819552 h 765"/>
              <a:gd name="T32" fmla="*/ 2046339406 w 815"/>
              <a:gd name="T33" fmla="*/ 1737412178 h 765"/>
              <a:gd name="T34" fmla="*/ 2013496645 w 815"/>
              <a:gd name="T35" fmla="*/ 1750378529 h 765"/>
              <a:gd name="T36" fmla="*/ 1957916833 w 815"/>
              <a:gd name="T37" fmla="*/ 1773716996 h 765"/>
              <a:gd name="T38" fmla="*/ 1874547114 w 815"/>
              <a:gd name="T39" fmla="*/ 1810020203 h 765"/>
              <a:gd name="T40" fmla="*/ 1773493199 w 815"/>
              <a:gd name="T41" fmla="*/ 1854104509 h 765"/>
              <a:gd name="T42" fmla="*/ 1657282308 w 815"/>
              <a:gd name="T43" fmla="*/ 1893001953 h 765"/>
              <a:gd name="T44" fmla="*/ 1525912854 w 815"/>
              <a:gd name="T45" fmla="*/ 1924118298 h 765"/>
              <a:gd name="T46" fmla="*/ 1379384835 w 815"/>
              <a:gd name="T47" fmla="*/ 1950051001 h 765"/>
              <a:gd name="T48" fmla="*/ 1222751107 w 815"/>
              <a:gd name="T49" fmla="*/ 1970795230 h 765"/>
              <a:gd name="T50" fmla="*/ 1068643012 w 815"/>
              <a:gd name="T51" fmla="*/ 1981168956 h 765"/>
              <a:gd name="T52" fmla="*/ 914536506 w 815"/>
              <a:gd name="T53" fmla="*/ 1978574719 h 765"/>
              <a:gd name="T54" fmla="*/ 762955632 w 815"/>
              <a:gd name="T55" fmla="*/ 1965609978 h 765"/>
              <a:gd name="T56" fmla="*/ 613901981 w 815"/>
              <a:gd name="T57" fmla="*/ 1944864138 h 765"/>
              <a:gd name="T58" fmla="*/ 477479672 w 815"/>
              <a:gd name="T59" fmla="*/ 1913746183 h 765"/>
              <a:gd name="T60" fmla="*/ 351161482 w 815"/>
              <a:gd name="T61" fmla="*/ 1877442976 h 765"/>
              <a:gd name="T62" fmla="*/ 240003447 w 815"/>
              <a:gd name="T63" fmla="*/ 1835951295 h 765"/>
              <a:gd name="T64" fmla="*/ 141475164 w 815"/>
              <a:gd name="T65" fmla="*/ 1791868599 h 765"/>
              <a:gd name="T66" fmla="*/ 68211155 w 815"/>
              <a:gd name="T67" fmla="*/ 1758158018 h 765"/>
              <a:gd name="T68" fmla="*/ 22737052 w 815"/>
              <a:gd name="T69" fmla="*/ 1737412178 h 765"/>
              <a:gd name="T70" fmla="*/ 2525633 w 815"/>
              <a:gd name="T71" fmla="*/ 1729632689 h 765"/>
              <a:gd name="T72" fmla="*/ 0 w 815"/>
              <a:gd name="T73" fmla="*/ 1721853200 h 765"/>
              <a:gd name="T74" fmla="*/ 5052855 w 815"/>
              <a:gd name="T75" fmla="*/ 1688142619 h 765"/>
              <a:gd name="T76" fmla="*/ 15158564 w 815"/>
              <a:gd name="T77" fmla="*/ 1625906709 h 765"/>
              <a:gd name="T78" fmla="*/ 30315539 w 815"/>
              <a:gd name="T79" fmla="*/ 1535145470 h 765"/>
              <a:gd name="T80" fmla="*/ 50526958 w 815"/>
              <a:gd name="T81" fmla="*/ 1423640001 h 765"/>
              <a:gd name="T82" fmla="*/ 80842497 w 815"/>
              <a:gd name="T83" fmla="*/ 1306949280 h 765"/>
              <a:gd name="T84" fmla="*/ 121263745 w 815"/>
              <a:gd name="T85" fmla="*/ 1185070086 h 765"/>
              <a:gd name="T86" fmla="*/ 169265070 w 815"/>
              <a:gd name="T87" fmla="*/ 1058005640 h 765"/>
              <a:gd name="T88" fmla="*/ 224844883 w 815"/>
              <a:gd name="T89" fmla="*/ 930941194 h 765"/>
              <a:gd name="T90" fmla="*/ 293056037 w 815"/>
              <a:gd name="T91" fmla="*/ 801284121 h 765"/>
              <a:gd name="T92" fmla="*/ 371372901 w 815"/>
              <a:gd name="T93" fmla="*/ 674219675 h 765"/>
              <a:gd name="T94" fmla="*/ 459795475 w 815"/>
              <a:gd name="T95" fmla="*/ 547155229 h 765"/>
              <a:gd name="T96" fmla="*/ 555796536 w 815"/>
              <a:gd name="T97" fmla="*/ 425277645 h 765"/>
              <a:gd name="T98" fmla="*/ 651797597 w 815"/>
              <a:gd name="T99" fmla="*/ 318957429 h 765"/>
              <a:gd name="T100" fmla="*/ 742745803 w 815"/>
              <a:gd name="T101" fmla="*/ 228197800 h 765"/>
              <a:gd name="T102" fmla="*/ 833694009 w 815"/>
              <a:gd name="T103" fmla="*/ 152995539 h 765"/>
              <a:gd name="T104" fmla="*/ 914536506 w 815"/>
              <a:gd name="T105" fmla="*/ 90759629 h 765"/>
              <a:gd name="T106" fmla="*/ 975169173 w 815"/>
              <a:gd name="T107" fmla="*/ 44084306 h 765"/>
              <a:gd name="T108" fmla="*/ 1013064788 w 815"/>
              <a:gd name="T109" fmla="*/ 15558978 h 765"/>
              <a:gd name="T110" fmla="*/ 1028221763 w 815"/>
              <a:gd name="T111" fmla="*/ 2592626 h 765"/>
              <a:gd name="T112" fmla="*/ 1035801840 w 815"/>
              <a:gd name="T113" fmla="*/ 2592626 h 765"/>
              <a:gd name="T114" fmla="*/ 1061064524 w 815"/>
              <a:gd name="T115" fmla="*/ 23338466 h 765"/>
              <a:gd name="T116" fmla="*/ 1109065849 w 815"/>
              <a:gd name="T117" fmla="*/ 59643284 h 765"/>
              <a:gd name="T118" fmla="*/ 1182329859 w 815"/>
              <a:gd name="T119" fmla="*/ 111505469 h 76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15" h="765">
                <a:moveTo>
                  <a:pt x="476" y="49"/>
                </a:moveTo>
                <a:lnTo>
                  <a:pt x="485" y="56"/>
                </a:lnTo>
                <a:lnTo>
                  <a:pt x="494" y="63"/>
                </a:lnTo>
                <a:lnTo>
                  <a:pt x="503" y="70"/>
                </a:lnTo>
                <a:lnTo>
                  <a:pt x="511" y="78"/>
                </a:lnTo>
                <a:lnTo>
                  <a:pt x="521" y="86"/>
                </a:lnTo>
                <a:lnTo>
                  <a:pt x="530" y="95"/>
                </a:lnTo>
                <a:lnTo>
                  <a:pt x="539" y="104"/>
                </a:lnTo>
                <a:lnTo>
                  <a:pt x="548" y="113"/>
                </a:lnTo>
                <a:lnTo>
                  <a:pt x="557" y="123"/>
                </a:lnTo>
                <a:lnTo>
                  <a:pt x="567" y="133"/>
                </a:lnTo>
                <a:lnTo>
                  <a:pt x="576" y="144"/>
                </a:lnTo>
                <a:lnTo>
                  <a:pt x="586" y="155"/>
                </a:lnTo>
                <a:lnTo>
                  <a:pt x="596" y="166"/>
                </a:lnTo>
                <a:lnTo>
                  <a:pt x="605" y="178"/>
                </a:lnTo>
                <a:lnTo>
                  <a:pt x="615" y="190"/>
                </a:lnTo>
                <a:lnTo>
                  <a:pt x="625" y="203"/>
                </a:lnTo>
                <a:lnTo>
                  <a:pt x="635" y="215"/>
                </a:lnTo>
                <a:lnTo>
                  <a:pt x="644" y="228"/>
                </a:lnTo>
                <a:lnTo>
                  <a:pt x="654" y="241"/>
                </a:lnTo>
                <a:lnTo>
                  <a:pt x="662" y="253"/>
                </a:lnTo>
                <a:lnTo>
                  <a:pt x="671" y="266"/>
                </a:lnTo>
                <a:lnTo>
                  <a:pt x="679" y="278"/>
                </a:lnTo>
                <a:lnTo>
                  <a:pt x="687" y="291"/>
                </a:lnTo>
                <a:lnTo>
                  <a:pt x="695" y="303"/>
                </a:lnTo>
                <a:lnTo>
                  <a:pt x="702" y="315"/>
                </a:lnTo>
                <a:lnTo>
                  <a:pt x="709" y="328"/>
                </a:lnTo>
                <a:lnTo>
                  <a:pt x="716" y="340"/>
                </a:lnTo>
                <a:lnTo>
                  <a:pt x="723" y="352"/>
                </a:lnTo>
                <a:lnTo>
                  <a:pt x="729" y="364"/>
                </a:lnTo>
                <a:lnTo>
                  <a:pt x="735" y="376"/>
                </a:lnTo>
                <a:lnTo>
                  <a:pt x="740" y="388"/>
                </a:lnTo>
                <a:lnTo>
                  <a:pt x="745" y="400"/>
                </a:lnTo>
                <a:lnTo>
                  <a:pt x="750" y="412"/>
                </a:lnTo>
                <a:lnTo>
                  <a:pt x="755" y="424"/>
                </a:lnTo>
                <a:lnTo>
                  <a:pt x="760" y="436"/>
                </a:lnTo>
                <a:lnTo>
                  <a:pt x="764" y="448"/>
                </a:lnTo>
                <a:lnTo>
                  <a:pt x="768" y="459"/>
                </a:lnTo>
                <a:lnTo>
                  <a:pt x="772" y="471"/>
                </a:lnTo>
                <a:lnTo>
                  <a:pt x="776" y="482"/>
                </a:lnTo>
                <a:lnTo>
                  <a:pt x="780" y="494"/>
                </a:lnTo>
                <a:lnTo>
                  <a:pt x="783" y="505"/>
                </a:lnTo>
                <a:lnTo>
                  <a:pt x="786" y="517"/>
                </a:lnTo>
                <a:lnTo>
                  <a:pt x="789" y="528"/>
                </a:lnTo>
                <a:lnTo>
                  <a:pt x="792" y="539"/>
                </a:lnTo>
                <a:lnTo>
                  <a:pt x="795" y="550"/>
                </a:lnTo>
                <a:lnTo>
                  <a:pt x="797" y="561"/>
                </a:lnTo>
                <a:lnTo>
                  <a:pt x="799" y="572"/>
                </a:lnTo>
                <a:lnTo>
                  <a:pt x="801" y="583"/>
                </a:lnTo>
                <a:lnTo>
                  <a:pt x="803" y="594"/>
                </a:lnTo>
                <a:lnTo>
                  <a:pt x="805" y="604"/>
                </a:lnTo>
                <a:lnTo>
                  <a:pt x="806" y="613"/>
                </a:lnTo>
                <a:lnTo>
                  <a:pt x="808" y="622"/>
                </a:lnTo>
                <a:lnTo>
                  <a:pt x="809" y="629"/>
                </a:lnTo>
                <a:lnTo>
                  <a:pt x="810" y="636"/>
                </a:lnTo>
                <a:lnTo>
                  <a:pt x="811" y="643"/>
                </a:lnTo>
                <a:lnTo>
                  <a:pt x="812" y="649"/>
                </a:lnTo>
                <a:lnTo>
                  <a:pt x="813" y="654"/>
                </a:lnTo>
                <a:lnTo>
                  <a:pt x="813" y="658"/>
                </a:lnTo>
                <a:lnTo>
                  <a:pt x="814" y="662"/>
                </a:lnTo>
                <a:lnTo>
                  <a:pt x="814" y="664"/>
                </a:lnTo>
                <a:lnTo>
                  <a:pt x="814" y="667"/>
                </a:lnTo>
                <a:lnTo>
                  <a:pt x="814" y="668"/>
                </a:lnTo>
                <a:lnTo>
                  <a:pt x="814" y="669"/>
                </a:lnTo>
                <a:lnTo>
                  <a:pt x="813" y="669"/>
                </a:lnTo>
                <a:lnTo>
                  <a:pt x="812" y="669"/>
                </a:lnTo>
                <a:lnTo>
                  <a:pt x="810" y="670"/>
                </a:lnTo>
                <a:lnTo>
                  <a:pt x="808" y="671"/>
                </a:lnTo>
                <a:lnTo>
                  <a:pt x="805" y="672"/>
                </a:lnTo>
                <a:lnTo>
                  <a:pt x="801" y="673"/>
                </a:lnTo>
                <a:lnTo>
                  <a:pt x="797" y="675"/>
                </a:lnTo>
                <a:lnTo>
                  <a:pt x="792" y="677"/>
                </a:lnTo>
                <a:lnTo>
                  <a:pt x="787" y="679"/>
                </a:lnTo>
                <a:lnTo>
                  <a:pt x="781" y="681"/>
                </a:lnTo>
                <a:lnTo>
                  <a:pt x="775" y="684"/>
                </a:lnTo>
                <a:lnTo>
                  <a:pt x="767" y="687"/>
                </a:lnTo>
                <a:lnTo>
                  <a:pt x="760" y="691"/>
                </a:lnTo>
                <a:lnTo>
                  <a:pt x="751" y="694"/>
                </a:lnTo>
                <a:lnTo>
                  <a:pt x="742" y="698"/>
                </a:lnTo>
                <a:lnTo>
                  <a:pt x="733" y="702"/>
                </a:lnTo>
                <a:lnTo>
                  <a:pt x="723" y="707"/>
                </a:lnTo>
                <a:lnTo>
                  <a:pt x="713" y="711"/>
                </a:lnTo>
                <a:lnTo>
                  <a:pt x="702" y="715"/>
                </a:lnTo>
                <a:lnTo>
                  <a:pt x="691" y="719"/>
                </a:lnTo>
                <a:lnTo>
                  <a:pt x="679" y="722"/>
                </a:lnTo>
                <a:lnTo>
                  <a:pt x="668" y="726"/>
                </a:lnTo>
                <a:lnTo>
                  <a:pt x="656" y="730"/>
                </a:lnTo>
                <a:lnTo>
                  <a:pt x="643" y="733"/>
                </a:lnTo>
                <a:lnTo>
                  <a:pt x="630" y="736"/>
                </a:lnTo>
                <a:lnTo>
                  <a:pt x="617" y="739"/>
                </a:lnTo>
                <a:lnTo>
                  <a:pt x="604" y="742"/>
                </a:lnTo>
                <a:lnTo>
                  <a:pt x="590" y="745"/>
                </a:lnTo>
                <a:lnTo>
                  <a:pt x="575" y="748"/>
                </a:lnTo>
                <a:lnTo>
                  <a:pt x="561" y="750"/>
                </a:lnTo>
                <a:lnTo>
                  <a:pt x="546" y="752"/>
                </a:lnTo>
                <a:lnTo>
                  <a:pt x="531" y="755"/>
                </a:lnTo>
                <a:lnTo>
                  <a:pt x="515" y="757"/>
                </a:lnTo>
                <a:lnTo>
                  <a:pt x="500" y="759"/>
                </a:lnTo>
                <a:lnTo>
                  <a:pt x="484" y="760"/>
                </a:lnTo>
                <a:lnTo>
                  <a:pt x="469" y="761"/>
                </a:lnTo>
                <a:lnTo>
                  <a:pt x="454" y="762"/>
                </a:lnTo>
                <a:lnTo>
                  <a:pt x="438" y="763"/>
                </a:lnTo>
                <a:lnTo>
                  <a:pt x="423" y="764"/>
                </a:lnTo>
                <a:lnTo>
                  <a:pt x="408" y="764"/>
                </a:lnTo>
                <a:lnTo>
                  <a:pt x="392" y="764"/>
                </a:lnTo>
                <a:lnTo>
                  <a:pt x="377" y="764"/>
                </a:lnTo>
                <a:lnTo>
                  <a:pt x="362" y="763"/>
                </a:lnTo>
                <a:lnTo>
                  <a:pt x="347" y="762"/>
                </a:lnTo>
                <a:lnTo>
                  <a:pt x="332" y="761"/>
                </a:lnTo>
                <a:lnTo>
                  <a:pt x="317" y="760"/>
                </a:lnTo>
                <a:lnTo>
                  <a:pt x="302" y="758"/>
                </a:lnTo>
                <a:lnTo>
                  <a:pt x="287" y="756"/>
                </a:lnTo>
                <a:lnTo>
                  <a:pt x="272" y="754"/>
                </a:lnTo>
                <a:lnTo>
                  <a:pt x="257" y="752"/>
                </a:lnTo>
                <a:lnTo>
                  <a:pt x="243" y="750"/>
                </a:lnTo>
                <a:lnTo>
                  <a:pt x="229" y="747"/>
                </a:lnTo>
                <a:lnTo>
                  <a:pt x="215" y="744"/>
                </a:lnTo>
                <a:lnTo>
                  <a:pt x="202" y="741"/>
                </a:lnTo>
                <a:lnTo>
                  <a:pt x="189" y="738"/>
                </a:lnTo>
                <a:lnTo>
                  <a:pt x="176" y="735"/>
                </a:lnTo>
                <a:lnTo>
                  <a:pt x="164" y="732"/>
                </a:lnTo>
                <a:lnTo>
                  <a:pt x="151" y="728"/>
                </a:lnTo>
                <a:lnTo>
                  <a:pt x="139" y="724"/>
                </a:lnTo>
                <a:lnTo>
                  <a:pt x="128" y="721"/>
                </a:lnTo>
                <a:lnTo>
                  <a:pt x="116" y="716"/>
                </a:lnTo>
                <a:lnTo>
                  <a:pt x="105" y="712"/>
                </a:lnTo>
                <a:lnTo>
                  <a:pt x="95" y="708"/>
                </a:lnTo>
                <a:lnTo>
                  <a:pt x="84" y="703"/>
                </a:lnTo>
                <a:lnTo>
                  <a:pt x="74" y="699"/>
                </a:lnTo>
                <a:lnTo>
                  <a:pt x="65" y="695"/>
                </a:lnTo>
                <a:lnTo>
                  <a:pt x="56" y="691"/>
                </a:lnTo>
                <a:lnTo>
                  <a:pt x="48" y="687"/>
                </a:lnTo>
                <a:lnTo>
                  <a:pt x="40" y="684"/>
                </a:lnTo>
                <a:lnTo>
                  <a:pt x="34" y="681"/>
                </a:lnTo>
                <a:lnTo>
                  <a:pt x="27" y="678"/>
                </a:lnTo>
                <a:lnTo>
                  <a:pt x="22" y="675"/>
                </a:lnTo>
                <a:lnTo>
                  <a:pt x="17" y="673"/>
                </a:lnTo>
                <a:lnTo>
                  <a:pt x="13" y="672"/>
                </a:lnTo>
                <a:lnTo>
                  <a:pt x="9" y="670"/>
                </a:lnTo>
                <a:lnTo>
                  <a:pt x="6" y="669"/>
                </a:lnTo>
                <a:lnTo>
                  <a:pt x="3" y="668"/>
                </a:lnTo>
                <a:lnTo>
                  <a:pt x="2" y="667"/>
                </a:lnTo>
                <a:lnTo>
                  <a:pt x="1" y="667"/>
                </a:lnTo>
                <a:lnTo>
                  <a:pt x="0" y="667"/>
                </a:lnTo>
                <a:lnTo>
                  <a:pt x="0" y="666"/>
                </a:lnTo>
                <a:lnTo>
                  <a:pt x="0" y="664"/>
                </a:lnTo>
                <a:lnTo>
                  <a:pt x="0" y="662"/>
                </a:lnTo>
                <a:lnTo>
                  <a:pt x="1" y="659"/>
                </a:lnTo>
                <a:lnTo>
                  <a:pt x="1" y="655"/>
                </a:lnTo>
                <a:lnTo>
                  <a:pt x="2" y="651"/>
                </a:lnTo>
                <a:lnTo>
                  <a:pt x="3" y="646"/>
                </a:lnTo>
                <a:lnTo>
                  <a:pt x="4" y="640"/>
                </a:lnTo>
                <a:lnTo>
                  <a:pt x="5" y="634"/>
                </a:lnTo>
                <a:lnTo>
                  <a:pt x="6" y="627"/>
                </a:lnTo>
                <a:lnTo>
                  <a:pt x="7" y="619"/>
                </a:lnTo>
                <a:lnTo>
                  <a:pt x="9" y="611"/>
                </a:lnTo>
                <a:lnTo>
                  <a:pt x="10" y="602"/>
                </a:lnTo>
                <a:lnTo>
                  <a:pt x="12" y="592"/>
                </a:lnTo>
                <a:lnTo>
                  <a:pt x="14" y="582"/>
                </a:lnTo>
                <a:lnTo>
                  <a:pt x="16" y="571"/>
                </a:lnTo>
                <a:lnTo>
                  <a:pt x="18" y="560"/>
                </a:lnTo>
                <a:lnTo>
                  <a:pt x="20" y="549"/>
                </a:lnTo>
                <a:lnTo>
                  <a:pt x="23" y="538"/>
                </a:lnTo>
                <a:lnTo>
                  <a:pt x="26" y="527"/>
                </a:lnTo>
                <a:lnTo>
                  <a:pt x="29" y="515"/>
                </a:lnTo>
                <a:lnTo>
                  <a:pt x="32" y="504"/>
                </a:lnTo>
                <a:lnTo>
                  <a:pt x="36" y="492"/>
                </a:lnTo>
                <a:lnTo>
                  <a:pt x="40" y="481"/>
                </a:lnTo>
                <a:lnTo>
                  <a:pt x="44" y="469"/>
                </a:lnTo>
                <a:lnTo>
                  <a:pt x="48" y="457"/>
                </a:lnTo>
                <a:lnTo>
                  <a:pt x="52" y="445"/>
                </a:lnTo>
                <a:lnTo>
                  <a:pt x="57" y="433"/>
                </a:lnTo>
                <a:lnTo>
                  <a:pt x="62" y="421"/>
                </a:lnTo>
                <a:lnTo>
                  <a:pt x="67" y="408"/>
                </a:lnTo>
                <a:lnTo>
                  <a:pt x="72" y="396"/>
                </a:lnTo>
                <a:lnTo>
                  <a:pt x="77" y="383"/>
                </a:lnTo>
                <a:lnTo>
                  <a:pt x="83" y="371"/>
                </a:lnTo>
                <a:lnTo>
                  <a:pt x="89" y="359"/>
                </a:lnTo>
                <a:lnTo>
                  <a:pt x="95" y="346"/>
                </a:lnTo>
                <a:lnTo>
                  <a:pt x="102" y="334"/>
                </a:lnTo>
                <a:lnTo>
                  <a:pt x="109" y="321"/>
                </a:lnTo>
                <a:lnTo>
                  <a:pt x="116" y="309"/>
                </a:lnTo>
                <a:lnTo>
                  <a:pt x="123" y="297"/>
                </a:lnTo>
                <a:lnTo>
                  <a:pt x="131" y="284"/>
                </a:lnTo>
                <a:lnTo>
                  <a:pt x="139" y="272"/>
                </a:lnTo>
                <a:lnTo>
                  <a:pt x="147" y="260"/>
                </a:lnTo>
                <a:lnTo>
                  <a:pt x="155" y="248"/>
                </a:lnTo>
                <a:lnTo>
                  <a:pt x="164" y="236"/>
                </a:lnTo>
                <a:lnTo>
                  <a:pt x="173" y="223"/>
                </a:lnTo>
                <a:lnTo>
                  <a:pt x="182" y="211"/>
                </a:lnTo>
                <a:lnTo>
                  <a:pt x="192" y="199"/>
                </a:lnTo>
                <a:lnTo>
                  <a:pt x="201" y="187"/>
                </a:lnTo>
                <a:lnTo>
                  <a:pt x="211" y="176"/>
                </a:lnTo>
                <a:lnTo>
                  <a:pt x="220" y="164"/>
                </a:lnTo>
                <a:lnTo>
                  <a:pt x="230" y="154"/>
                </a:lnTo>
                <a:lnTo>
                  <a:pt x="239" y="143"/>
                </a:lnTo>
                <a:lnTo>
                  <a:pt x="249" y="133"/>
                </a:lnTo>
                <a:lnTo>
                  <a:pt x="258" y="123"/>
                </a:lnTo>
                <a:lnTo>
                  <a:pt x="267" y="114"/>
                </a:lnTo>
                <a:lnTo>
                  <a:pt x="276" y="105"/>
                </a:lnTo>
                <a:lnTo>
                  <a:pt x="285" y="96"/>
                </a:lnTo>
                <a:lnTo>
                  <a:pt x="294" y="88"/>
                </a:lnTo>
                <a:lnTo>
                  <a:pt x="303" y="80"/>
                </a:lnTo>
                <a:lnTo>
                  <a:pt x="312" y="73"/>
                </a:lnTo>
                <a:lnTo>
                  <a:pt x="321" y="65"/>
                </a:lnTo>
                <a:lnTo>
                  <a:pt x="330" y="59"/>
                </a:lnTo>
                <a:lnTo>
                  <a:pt x="339" y="52"/>
                </a:lnTo>
                <a:lnTo>
                  <a:pt x="347" y="46"/>
                </a:lnTo>
                <a:lnTo>
                  <a:pt x="355" y="40"/>
                </a:lnTo>
                <a:lnTo>
                  <a:pt x="362" y="35"/>
                </a:lnTo>
                <a:lnTo>
                  <a:pt x="369" y="30"/>
                </a:lnTo>
                <a:lnTo>
                  <a:pt x="375" y="25"/>
                </a:lnTo>
                <a:lnTo>
                  <a:pt x="381" y="21"/>
                </a:lnTo>
                <a:lnTo>
                  <a:pt x="386" y="17"/>
                </a:lnTo>
                <a:lnTo>
                  <a:pt x="391" y="14"/>
                </a:lnTo>
                <a:lnTo>
                  <a:pt x="395" y="11"/>
                </a:lnTo>
                <a:lnTo>
                  <a:pt x="398" y="8"/>
                </a:lnTo>
                <a:lnTo>
                  <a:pt x="401" y="6"/>
                </a:lnTo>
                <a:lnTo>
                  <a:pt x="403" y="4"/>
                </a:lnTo>
                <a:lnTo>
                  <a:pt x="405" y="3"/>
                </a:lnTo>
                <a:lnTo>
                  <a:pt x="406" y="1"/>
                </a:lnTo>
                <a:lnTo>
                  <a:pt x="407" y="1"/>
                </a:lnTo>
                <a:lnTo>
                  <a:pt x="407" y="0"/>
                </a:lnTo>
                <a:lnTo>
                  <a:pt x="408" y="0"/>
                </a:lnTo>
                <a:lnTo>
                  <a:pt x="408" y="1"/>
                </a:lnTo>
                <a:lnTo>
                  <a:pt x="410" y="1"/>
                </a:lnTo>
                <a:lnTo>
                  <a:pt x="411" y="3"/>
                </a:lnTo>
                <a:lnTo>
                  <a:pt x="414" y="4"/>
                </a:lnTo>
                <a:lnTo>
                  <a:pt x="417" y="6"/>
                </a:lnTo>
                <a:lnTo>
                  <a:pt x="420" y="9"/>
                </a:lnTo>
                <a:lnTo>
                  <a:pt x="424" y="12"/>
                </a:lnTo>
                <a:lnTo>
                  <a:pt x="429" y="15"/>
                </a:lnTo>
                <a:lnTo>
                  <a:pt x="434" y="19"/>
                </a:lnTo>
                <a:lnTo>
                  <a:pt x="439" y="23"/>
                </a:lnTo>
                <a:lnTo>
                  <a:pt x="446" y="27"/>
                </a:lnTo>
                <a:lnTo>
                  <a:pt x="452" y="32"/>
                </a:lnTo>
                <a:lnTo>
                  <a:pt x="460" y="38"/>
                </a:lnTo>
                <a:lnTo>
                  <a:pt x="468" y="43"/>
                </a:lnTo>
                <a:lnTo>
                  <a:pt x="476" y="49"/>
                </a:lnTo>
                <a:close/>
              </a:path>
            </a:pathLst>
          </a:cu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3" name="Freeform 10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5339012" y="4467310"/>
            <a:ext cx="1771025" cy="1389741"/>
          </a:xfrm>
          <a:custGeom>
            <a:avLst/>
            <a:gdLst>
              <a:gd name="T0" fmla="*/ 313148603 w 829"/>
              <a:gd name="T1" fmla="*/ 128935752 h 865"/>
              <a:gd name="T2" fmla="*/ 466023359 w 829"/>
              <a:gd name="T3" fmla="*/ 173567721 h 865"/>
              <a:gd name="T4" fmla="*/ 636158473 w 829"/>
              <a:gd name="T5" fmla="*/ 208280951 h 865"/>
              <a:gd name="T6" fmla="*/ 823555514 w 829"/>
              <a:gd name="T7" fmla="*/ 233075440 h 865"/>
              <a:gd name="T8" fmla="*/ 1006018780 w 829"/>
              <a:gd name="T9" fmla="*/ 245474259 h 865"/>
              <a:gd name="T10" fmla="*/ 1183551414 w 829"/>
              <a:gd name="T11" fmla="*/ 240514101 h 865"/>
              <a:gd name="T12" fmla="*/ 1356153414 w 829"/>
              <a:gd name="T13" fmla="*/ 220678195 h 865"/>
              <a:gd name="T14" fmla="*/ 1521357894 w 829"/>
              <a:gd name="T15" fmla="*/ 185964966 h 865"/>
              <a:gd name="T16" fmla="*/ 1674232651 w 829"/>
              <a:gd name="T17" fmla="*/ 143813075 h 865"/>
              <a:gd name="T18" fmla="*/ 1817246141 w 829"/>
              <a:gd name="T19" fmla="*/ 86783861 h 865"/>
              <a:gd name="T20" fmla="*/ 1928204233 w 829"/>
              <a:gd name="T21" fmla="*/ 42151891 h 865"/>
              <a:gd name="T22" fmla="*/ 1994778774 w 829"/>
              <a:gd name="T23" fmla="*/ 14877323 h 865"/>
              <a:gd name="T24" fmla="*/ 2019435081 w 829"/>
              <a:gd name="T25" fmla="*/ 7438662 h 865"/>
              <a:gd name="T26" fmla="*/ 2021901968 w 829"/>
              <a:gd name="T27" fmla="*/ 27274568 h 865"/>
              <a:gd name="T28" fmla="*/ 2026832601 w 829"/>
              <a:gd name="T29" fmla="*/ 84303782 h 865"/>
              <a:gd name="T30" fmla="*/ 2034230122 w 829"/>
              <a:gd name="T31" fmla="*/ 181006383 h 865"/>
              <a:gd name="T32" fmla="*/ 2041627642 w 829"/>
              <a:gd name="T33" fmla="*/ 312420639 h 865"/>
              <a:gd name="T34" fmla="*/ 2031764805 w 829"/>
              <a:gd name="T35" fmla="*/ 466152454 h 865"/>
              <a:gd name="T36" fmla="*/ 2007106928 w 829"/>
              <a:gd name="T37" fmla="*/ 644678758 h 865"/>
              <a:gd name="T38" fmla="*/ 1965190264 w 829"/>
              <a:gd name="T39" fmla="*/ 840560890 h 865"/>
              <a:gd name="T40" fmla="*/ 1903546356 w 829"/>
              <a:gd name="T41" fmla="*/ 1031486013 h 865"/>
              <a:gd name="T42" fmla="*/ 1827108977 w 829"/>
              <a:gd name="T43" fmla="*/ 1217450979 h 865"/>
              <a:gd name="T44" fmla="*/ 1730944355 w 829"/>
              <a:gd name="T45" fmla="*/ 1395977283 h 865"/>
              <a:gd name="T46" fmla="*/ 1627383783 w 829"/>
              <a:gd name="T47" fmla="*/ 1559626264 h 865"/>
              <a:gd name="T48" fmla="*/ 1516425691 w 829"/>
              <a:gd name="T49" fmla="*/ 1705917843 h 865"/>
              <a:gd name="T50" fmla="*/ 1398070078 w 829"/>
              <a:gd name="T51" fmla="*/ 1834853594 h 865"/>
              <a:gd name="T52" fmla="*/ 1289578873 w 829"/>
              <a:gd name="T53" fmla="*/ 1938994857 h 865"/>
              <a:gd name="T54" fmla="*/ 1198346454 w 829"/>
              <a:gd name="T55" fmla="*/ 2020818560 h 865"/>
              <a:gd name="T56" fmla="*/ 1121909076 w 829"/>
              <a:gd name="T57" fmla="*/ 2075369270 h 865"/>
              <a:gd name="T58" fmla="*/ 1067662688 w 829"/>
              <a:gd name="T59" fmla="*/ 2112562578 h 865"/>
              <a:gd name="T60" fmla="*/ 1030676658 w 829"/>
              <a:gd name="T61" fmla="*/ 2134876989 h 865"/>
              <a:gd name="T62" fmla="*/ 1018348504 w 829"/>
              <a:gd name="T63" fmla="*/ 2142315650 h 865"/>
              <a:gd name="T64" fmla="*/ 1008485667 w 829"/>
              <a:gd name="T65" fmla="*/ 2134876989 h 865"/>
              <a:gd name="T66" fmla="*/ 969032750 w 829"/>
              <a:gd name="T67" fmla="*/ 2107602421 h 865"/>
              <a:gd name="T68" fmla="*/ 897527575 w 829"/>
              <a:gd name="T69" fmla="*/ 2055531790 h 865"/>
              <a:gd name="T70" fmla="*/ 801362953 w 829"/>
              <a:gd name="T71" fmla="*/ 1981146748 h 865"/>
              <a:gd name="T72" fmla="*/ 695337064 w 829"/>
              <a:gd name="T73" fmla="*/ 1886924226 h 865"/>
              <a:gd name="T74" fmla="*/ 584378972 w 829"/>
              <a:gd name="T75" fmla="*/ 1772865797 h 865"/>
              <a:gd name="T76" fmla="*/ 470955563 w 829"/>
              <a:gd name="T77" fmla="*/ 1636491384 h 865"/>
              <a:gd name="T78" fmla="*/ 364928104 w 829"/>
              <a:gd name="T79" fmla="*/ 1495158388 h 865"/>
              <a:gd name="T80" fmla="*/ 273695685 w 829"/>
              <a:gd name="T81" fmla="*/ 1346386730 h 865"/>
              <a:gd name="T82" fmla="*/ 197258307 w 829"/>
              <a:gd name="T83" fmla="*/ 1195134994 h 865"/>
              <a:gd name="T84" fmla="*/ 133149083 w 829"/>
              <a:gd name="T85" fmla="*/ 1036444596 h 865"/>
              <a:gd name="T86" fmla="*/ 83834898 w 829"/>
              <a:gd name="T87" fmla="*/ 877754198 h 865"/>
              <a:gd name="T88" fmla="*/ 44383551 w 829"/>
              <a:gd name="T89" fmla="*/ 716585296 h 865"/>
              <a:gd name="T90" fmla="*/ 17260357 w 829"/>
              <a:gd name="T91" fmla="*/ 555414819 h 865"/>
              <a:gd name="T92" fmla="*/ 4932204 w 829"/>
              <a:gd name="T93" fmla="*/ 401684578 h 865"/>
              <a:gd name="T94" fmla="*/ 0 w 829"/>
              <a:gd name="T95" fmla="*/ 255391424 h 865"/>
              <a:gd name="T96" fmla="*/ 4932204 w 829"/>
              <a:gd name="T97" fmla="*/ 126455673 h 865"/>
              <a:gd name="T98" fmla="*/ 7397520 w 829"/>
              <a:gd name="T99" fmla="*/ 42151891 h 865"/>
              <a:gd name="T100" fmla="*/ 9862837 w 829"/>
              <a:gd name="T101" fmla="*/ 2480079 h 865"/>
              <a:gd name="T102" fmla="*/ 17260357 w 829"/>
              <a:gd name="T103" fmla="*/ 2480079 h 865"/>
              <a:gd name="T104" fmla="*/ 59177021 w 829"/>
              <a:gd name="T105" fmla="*/ 22315985 h 865"/>
              <a:gd name="T106" fmla="*/ 140546603 w 829"/>
              <a:gd name="T107" fmla="*/ 57029214 h 86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29" h="865">
                <a:moveTo>
                  <a:pt x="85" y="35"/>
                </a:moveTo>
                <a:lnTo>
                  <a:pt x="95" y="40"/>
                </a:lnTo>
                <a:lnTo>
                  <a:pt x="105" y="44"/>
                </a:lnTo>
                <a:lnTo>
                  <a:pt x="116" y="48"/>
                </a:lnTo>
                <a:lnTo>
                  <a:pt x="127" y="52"/>
                </a:lnTo>
                <a:lnTo>
                  <a:pt x="139" y="56"/>
                </a:lnTo>
                <a:lnTo>
                  <a:pt x="151" y="59"/>
                </a:lnTo>
                <a:lnTo>
                  <a:pt x="163" y="63"/>
                </a:lnTo>
                <a:lnTo>
                  <a:pt x="176" y="66"/>
                </a:lnTo>
                <a:lnTo>
                  <a:pt x="189" y="70"/>
                </a:lnTo>
                <a:lnTo>
                  <a:pt x="202" y="73"/>
                </a:lnTo>
                <a:lnTo>
                  <a:pt x="215" y="76"/>
                </a:lnTo>
                <a:lnTo>
                  <a:pt x="229" y="79"/>
                </a:lnTo>
                <a:lnTo>
                  <a:pt x="243" y="81"/>
                </a:lnTo>
                <a:lnTo>
                  <a:pt x="258" y="84"/>
                </a:lnTo>
                <a:lnTo>
                  <a:pt x="273" y="86"/>
                </a:lnTo>
                <a:lnTo>
                  <a:pt x="288" y="89"/>
                </a:lnTo>
                <a:lnTo>
                  <a:pt x="303" y="91"/>
                </a:lnTo>
                <a:lnTo>
                  <a:pt x="319" y="93"/>
                </a:lnTo>
                <a:lnTo>
                  <a:pt x="334" y="94"/>
                </a:lnTo>
                <a:lnTo>
                  <a:pt x="349" y="96"/>
                </a:lnTo>
                <a:lnTo>
                  <a:pt x="364" y="97"/>
                </a:lnTo>
                <a:lnTo>
                  <a:pt x="379" y="98"/>
                </a:lnTo>
                <a:lnTo>
                  <a:pt x="393" y="98"/>
                </a:lnTo>
                <a:lnTo>
                  <a:pt x="408" y="99"/>
                </a:lnTo>
                <a:lnTo>
                  <a:pt x="423" y="99"/>
                </a:lnTo>
                <a:lnTo>
                  <a:pt x="437" y="99"/>
                </a:lnTo>
                <a:lnTo>
                  <a:pt x="452" y="98"/>
                </a:lnTo>
                <a:lnTo>
                  <a:pt x="466" y="98"/>
                </a:lnTo>
                <a:lnTo>
                  <a:pt x="480" y="97"/>
                </a:lnTo>
                <a:lnTo>
                  <a:pt x="495" y="96"/>
                </a:lnTo>
                <a:lnTo>
                  <a:pt x="509" y="94"/>
                </a:lnTo>
                <a:lnTo>
                  <a:pt x="523" y="93"/>
                </a:lnTo>
                <a:lnTo>
                  <a:pt x="537" y="91"/>
                </a:lnTo>
                <a:lnTo>
                  <a:pt x="550" y="89"/>
                </a:lnTo>
                <a:lnTo>
                  <a:pt x="564" y="86"/>
                </a:lnTo>
                <a:lnTo>
                  <a:pt x="577" y="84"/>
                </a:lnTo>
                <a:lnTo>
                  <a:pt x="591" y="81"/>
                </a:lnTo>
                <a:lnTo>
                  <a:pt x="604" y="78"/>
                </a:lnTo>
                <a:lnTo>
                  <a:pt x="617" y="75"/>
                </a:lnTo>
                <a:lnTo>
                  <a:pt x="630" y="72"/>
                </a:lnTo>
                <a:lnTo>
                  <a:pt x="642" y="69"/>
                </a:lnTo>
                <a:lnTo>
                  <a:pt x="655" y="65"/>
                </a:lnTo>
                <a:lnTo>
                  <a:pt x="667" y="62"/>
                </a:lnTo>
                <a:lnTo>
                  <a:pt x="679" y="58"/>
                </a:lnTo>
                <a:lnTo>
                  <a:pt x="691" y="53"/>
                </a:lnTo>
                <a:lnTo>
                  <a:pt x="703" y="49"/>
                </a:lnTo>
                <a:lnTo>
                  <a:pt x="715" y="45"/>
                </a:lnTo>
                <a:lnTo>
                  <a:pt x="726" y="40"/>
                </a:lnTo>
                <a:lnTo>
                  <a:pt x="737" y="35"/>
                </a:lnTo>
                <a:lnTo>
                  <a:pt x="748" y="31"/>
                </a:lnTo>
                <a:lnTo>
                  <a:pt x="758" y="27"/>
                </a:lnTo>
                <a:lnTo>
                  <a:pt x="767" y="23"/>
                </a:lnTo>
                <a:lnTo>
                  <a:pt x="775" y="20"/>
                </a:lnTo>
                <a:lnTo>
                  <a:pt x="782" y="17"/>
                </a:lnTo>
                <a:lnTo>
                  <a:pt x="789" y="14"/>
                </a:lnTo>
                <a:lnTo>
                  <a:pt x="795" y="12"/>
                </a:lnTo>
                <a:lnTo>
                  <a:pt x="801" y="9"/>
                </a:lnTo>
                <a:lnTo>
                  <a:pt x="805" y="8"/>
                </a:lnTo>
                <a:lnTo>
                  <a:pt x="809" y="6"/>
                </a:lnTo>
                <a:lnTo>
                  <a:pt x="813" y="5"/>
                </a:lnTo>
                <a:lnTo>
                  <a:pt x="815" y="4"/>
                </a:lnTo>
                <a:lnTo>
                  <a:pt x="817" y="3"/>
                </a:lnTo>
                <a:lnTo>
                  <a:pt x="818" y="3"/>
                </a:lnTo>
                <a:lnTo>
                  <a:pt x="819" y="3"/>
                </a:lnTo>
                <a:lnTo>
                  <a:pt x="819" y="4"/>
                </a:lnTo>
                <a:lnTo>
                  <a:pt x="819" y="6"/>
                </a:lnTo>
                <a:lnTo>
                  <a:pt x="819" y="8"/>
                </a:lnTo>
                <a:lnTo>
                  <a:pt x="820" y="11"/>
                </a:lnTo>
                <a:lnTo>
                  <a:pt x="820" y="14"/>
                </a:lnTo>
                <a:lnTo>
                  <a:pt x="820" y="18"/>
                </a:lnTo>
                <a:lnTo>
                  <a:pt x="821" y="23"/>
                </a:lnTo>
                <a:lnTo>
                  <a:pt x="821" y="28"/>
                </a:lnTo>
                <a:lnTo>
                  <a:pt x="822" y="34"/>
                </a:lnTo>
                <a:lnTo>
                  <a:pt x="822" y="41"/>
                </a:lnTo>
                <a:lnTo>
                  <a:pt x="823" y="48"/>
                </a:lnTo>
                <a:lnTo>
                  <a:pt x="824" y="56"/>
                </a:lnTo>
                <a:lnTo>
                  <a:pt x="825" y="64"/>
                </a:lnTo>
                <a:lnTo>
                  <a:pt x="825" y="73"/>
                </a:lnTo>
                <a:lnTo>
                  <a:pt x="826" y="83"/>
                </a:lnTo>
                <a:lnTo>
                  <a:pt x="827" y="93"/>
                </a:lnTo>
                <a:lnTo>
                  <a:pt x="828" y="104"/>
                </a:lnTo>
                <a:lnTo>
                  <a:pt x="828" y="115"/>
                </a:lnTo>
                <a:lnTo>
                  <a:pt x="828" y="126"/>
                </a:lnTo>
                <a:lnTo>
                  <a:pt x="828" y="138"/>
                </a:lnTo>
                <a:lnTo>
                  <a:pt x="827" y="150"/>
                </a:lnTo>
                <a:lnTo>
                  <a:pt x="826" y="162"/>
                </a:lnTo>
                <a:lnTo>
                  <a:pt x="825" y="175"/>
                </a:lnTo>
                <a:lnTo>
                  <a:pt x="824" y="188"/>
                </a:lnTo>
                <a:lnTo>
                  <a:pt x="822" y="202"/>
                </a:lnTo>
                <a:lnTo>
                  <a:pt x="821" y="216"/>
                </a:lnTo>
                <a:lnTo>
                  <a:pt x="819" y="230"/>
                </a:lnTo>
                <a:lnTo>
                  <a:pt x="816" y="245"/>
                </a:lnTo>
                <a:lnTo>
                  <a:pt x="814" y="260"/>
                </a:lnTo>
                <a:lnTo>
                  <a:pt x="811" y="275"/>
                </a:lnTo>
                <a:lnTo>
                  <a:pt x="808" y="291"/>
                </a:lnTo>
                <a:lnTo>
                  <a:pt x="804" y="307"/>
                </a:lnTo>
                <a:lnTo>
                  <a:pt x="801" y="323"/>
                </a:lnTo>
                <a:lnTo>
                  <a:pt x="797" y="339"/>
                </a:lnTo>
                <a:lnTo>
                  <a:pt x="792" y="354"/>
                </a:lnTo>
                <a:lnTo>
                  <a:pt x="788" y="370"/>
                </a:lnTo>
                <a:lnTo>
                  <a:pt x="783" y="385"/>
                </a:lnTo>
                <a:lnTo>
                  <a:pt x="778" y="401"/>
                </a:lnTo>
                <a:lnTo>
                  <a:pt x="772" y="416"/>
                </a:lnTo>
                <a:lnTo>
                  <a:pt x="767" y="431"/>
                </a:lnTo>
                <a:lnTo>
                  <a:pt x="761" y="446"/>
                </a:lnTo>
                <a:lnTo>
                  <a:pt x="754" y="461"/>
                </a:lnTo>
                <a:lnTo>
                  <a:pt x="748" y="476"/>
                </a:lnTo>
                <a:lnTo>
                  <a:pt x="741" y="491"/>
                </a:lnTo>
                <a:lnTo>
                  <a:pt x="734" y="506"/>
                </a:lnTo>
                <a:lnTo>
                  <a:pt x="726" y="520"/>
                </a:lnTo>
                <a:lnTo>
                  <a:pt x="718" y="535"/>
                </a:lnTo>
                <a:lnTo>
                  <a:pt x="710" y="549"/>
                </a:lnTo>
                <a:lnTo>
                  <a:pt x="702" y="563"/>
                </a:lnTo>
                <a:lnTo>
                  <a:pt x="694" y="577"/>
                </a:lnTo>
                <a:lnTo>
                  <a:pt x="686" y="590"/>
                </a:lnTo>
                <a:lnTo>
                  <a:pt x="677" y="604"/>
                </a:lnTo>
                <a:lnTo>
                  <a:pt x="669" y="617"/>
                </a:lnTo>
                <a:lnTo>
                  <a:pt x="660" y="629"/>
                </a:lnTo>
                <a:lnTo>
                  <a:pt x="651" y="641"/>
                </a:lnTo>
                <a:lnTo>
                  <a:pt x="642" y="654"/>
                </a:lnTo>
                <a:lnTo>
                  <a:pt x="633" y="665"/>
                </a:lnTo>
                <a:lnTo>
                  <a:pt x="624" y="677"/>
                </a:lnTo>
                <a:lnTo>
                  <a:pt x="615" y="688"/>
                </a:lnTo>
                <a:lnTo>
                  <a:pt x="605" y="699"/>
                </a:lnTo>
                <a:lnTo>
                  <a:pt x="596" y="709"/>
                </a:lnTo>
                <a:lnTo>
                  <a:pt x="586" y="720"/>
                </a:lnTo>
                <a:lnTo>
                  <a:pt x="577" y="730"/>
                </a:lnTo>
                <a:lnTo>
                  <a:pt x="567" y="740"/>
                </a:lnTo>
                <a:lnTo>
                  <a:pt x="558" y="749"/>
                </a:lnTo>
                <a:lnTo>
                  <a:pt x="549" y="758"/>
                </a:lnTo>
                <a:lnTo>
                  <a:pt x="540" y="766"/>
                </a:lnTo>
                <a:lnTo>
                  <a:pt x="531" y="774"/>
                </a:lnTo>
                <a:lnTo>
                  <a:pt x="523" y="782"/>
                </a:lnTo>
                <a:lnTo>
                  <a:pt x="515" y="789"/>
                </a:lnTo>
                <a:lnTo>
                  <a:pt x="507" y="796"/>
                </a:lnTo>
                <a:lnTo>
                  <a:pt x="500" y="803"/>
                </a:lnTo>
                <a:lnTo>
                  <a:pt x="493" y="809"/>
                </a:lnTo>
                <a:lnTo>
                  <a:pt x="486" y="815"/>
                </a:lnTo>
                <a:lnTo>
                  <a:pt x="479" y="820"/>
                </a:lnTo>
                <a:lnTo>
                  <a:pt x="473" y="825"/>
                </a:lnTo>
                <a:lnTo>
                  <a:pt x="467" y="829"/>
                </a:lnTo>
                <a:lnTo>
                  <a:pt x="461" y="833"/>
                </a:lnTo>
                <a:lnTo>
                  <a:pt x="455" y="837"/>
                </a:lnTo>
                <a:lnTo>
                  <a:pt x="450" y="840"/>
                </a:lnTo>
                <a:lnTo>
                  <a:pt x="445" y="844"/>
                </a:lnTo>
                <a:lnTo>
                  <a:pt x="441" y="847"/>
                </a:lnTo>
                <a:lnTo>
                  <a:pt x="437" y="849"/>
                </a:lnTo>
                <a:lnTo>
                  <a:pt x="433" y="852"/>
                </a:lnTo>
                <a:lnTo>
                  <a:pt x="429" y="854"/>
                </a:lnTo>
                <a:lnTo>
                  <a:pt x="426" y="856"/>
                </a:lnTo>
                <a:lnTo>
                  <a:pt x="423" y="858"/>
                </a:lnTo>
                <a:lnTo>
                  <a:pt x="421" y="859"/>
                </a:lnTo>
                <a:lnTo>
                  <a:pt x="418" y="861"/>
                </a:lnTo>
                <a:lnTo>
                  <a:pt x="417" y="862"/>
                </a:lnTo>
                <a:lnTo>
                  <a:pt x="415" y="863"/>
                </a:lnTo>
                <a:lnTo>
                  <a:pt x="414" y="864"/>
                </a:lnTo>
                <a:lnTo>
                  <a:pt x="413" y="864"/>
                </a:lnTo>
                <a:lnTo>
                  <a:pt x="412" y="864"/>
                </a:lnTo>
                <a:lnTo>
                  <a:pt x="410" y="863"/>
                </a:lnTo>
                <a:lnTo>
                  <a:pt x="409" y="861"/>
                </a:lnTo>
                <a:lnTo>
                  <a:pt x="407" y="860"/>
                </a:lnTo>
                <a:lnTo>
                  <a:pt x="404" y="858"/>
                </a:lnTo>
                <a:lnTo>
                  <a:pt x="401" y="855"/>
                </a:lnTo>
                <a:lnTo>
                  <a:pt x="397" y="853"/>
                </a:lnTo>
                <a:lnTo>
                  <a:pt x="393" y="850"/>
                </a:lnTo>
                <a:lnTo>
                  <a:pt x="388" y="846"/>
                </a:lnTo>
                <a:lnTo>
                  <a:pt x="383" y="842"/>
                </a:lnTo>
                <a:lnTo>
                  <a:pt x="377" y="838"/>
                </a:lnTo>
                <a:lnTo>
                  <a:pt x="371" y="834"/>
                </a:lnTo>
                <a:lnTo>
                  <a:pt x="364" y="829"/>
                </a:lnTo>
                <a:lnTo>
                  <a:pt x="357" y="823"/>
                </a:lnTo>
                <a:lnTo>
                  <a:pt x="349" y="818"/>
                </a:lnTo>
                <a:lnTo>
                  <a:pt x="341" y="812"/>
                </a:lnTo>
                <a:lnTo>
                  <a:pt x="333" y="806"/>
                </a:lnTo>
                <a:lnTo>
                  <a:pt x="325" y="799"/>
                </a:lnTo>
                <a:lnTo>
                  <a:pt x="316" y="792"/>
                </a:lnTo>
                <a:lnTo>
                  <a:pt x="308" y="785"/>
                </a:lnTo>
                <a:lnTo>
                  <a:pt x="300" y="777"/>
                </a:lnTo>
                <a:lnTo>
                  <a:pt x="291" y="769"/>
                </a:lnTo>
                <a:lnTo>
                  <a:pt x="282" y="761"/>
                </a:lnTo>
                <a:lnTo>
                  <a:pt x="273" y="752"/>
                </a:lnTo>
                <a:lnTo>
                  <a:pt x="265" y="743"/>
                </a:lnTo>
                <a:lnTo>
                  <a:pt x="256" y="734"/>
                </a:lnTo>
                <a:lnTo>
                  <a:pt x="247" y="725"/>
                </a:lnTo>
                <a:lnTo>
                  <a:pt x="237" y="715"/>
                </a:lnTo>
                <a:lnTo>
                  <a:pt x="228" y="704"/>
                </a:lnTo>
                <a:lnTo>
                  <a:pt x="219" y="694"/>
                </a:lnTo>
                <a:lnTo>
                  <a:pt x="209" y="683"/>
                </a:lnTo>
                <a:lnTo>
                  <a:pt x="200" y="672"/>
                </a:lnTo>
                <a:lnTo>
                  <a:pt x="191" y="660"/>
                </a:lnTo>
                <a:lnTo>
                  <a:pt x="182" y="649"/>
                </a:lnTo>
                <a:lnTo>
                  <a:pt x="173" y="638"/>
                </a:lnTo>
                <a:lnTo>
                  <a:pt x="165" y="626"/>
                </a:lnTo>
                <a:lnTo>
                  <a:pt x="156" y="615"/>
                </a:lnTo>
                <a:lnTo>
                  <a:pt x="148" y="603"/>
                </a:lnTo>
                <a:lnTo>
                  <a:pt x="141" y="591"/>
                </a:lnTo>
                <a:lnTo>
                  <a:pt x="133" y="579"/>
                </a:lnTo>
                <a:lnTo>
                  <a:pt x="126" y="567"/>
                </a:lnTo>
                <a:lnTo>
                  <a:pt x="118" y="555"/>
                </a:lnTo>
                <a:lnTo>
                  <a:pt x="111" y="543"/>
                </a:lnTo>
                <a:lnTo>
                  <a:pt x="105" y="531"/>
                </a:lnTo>
                <a:lnTo>
                  <a:pt x="98" y="519"/>
                </a:lnTo>
                <a:lnTo>
                  <a:pt x="92" y="506"/>
                </a:lnTo>
                <a:lnTo>
                  <a:pt x="86" y="494"/>
                </a:lnTo>
                <a:lnTo>
                  <a:pt x="80" y="482"/>
                </a:lnTo>
                <a:lnTo>
                  <a:pt x="75" y="469"/>
                </a:lnTo>
                <a:lnTo>
                  <a:pt x="69" y="456"/>
                </a:lnTo>
                <a:lnTo>
                  <a:pt x="64" y="444"/>
                </a:lnTo>
                <a:lnTo>
                  <a:pt x="59" y="431"/>
                </a:lnTo>
                <a:lnTo>
                  <a:pt x="54" y="418"/>
                </a:lnTo>
                <a:lnTo>
                  <a:pt x="50" y="406"/>
                </a:lnTo>
                <a:lnTo>
                  <a:pt x="45" y="393"/>
                </a:lnTo>
                <a:lnTo>
                  <a:pt x="41" y="380"/>
                </a:lnTo>
                <a:lnTo>
                  <a:pt x="37" y="367"/>
                </a:lnTo>
                <a:lnTo>
                  <a:pt x="34" y="354"/>
                </a:lnTo>
                <a:lnTo>
                  <a:pt x="30" y="341"/>
                </a:lnTo>
                <a:lnTo>
                  <a:pt x="27" y="328"/>
                </a:lnTo>
                <a:lnTo>
                  <a:pt x="24" y="315"/>
                </a:lnTo>
                <a:lnTo>
                  <a:pt x="21" y="302"/>
                </a:lnTo>
                <a:lnTo>
                  <a:pt x="18" y="289"/>
                </a:lnTo>
                <a:lnTo>
                  <a:pt x="16" y="276"/>
                </a:lnTo>
                <a:lnTo>
                  <a:pt x="13" y="263"/>
                </a:lnTo>
                <a:lnTo>
                  <a:pt x="11" y="250"/>
                </a:lnTo>
                <a:lnTo>
                  <a:pt x="9" y="237"/>
                </a:lnTo>
                <a:lnTo>
                  <a:pt x="7" y="224"/>
                </a:lnTo>
                <a:lnTo>
                  <a:pt x="6" y="212"/>
                </a:lnTo>
                <a:lnTo>
                  <a:pt x="4" y="199"/>
                </a:lnTo>
                <a:lnTo>
                  <a:pt x="3" y="187"/>
                </a:lnTo>
                <a:lnTo>
                  <a:pt x="2" y="175"/>
                </a:lnTo>
                <a:lnTo>
                  <a:pt x="2" y="162"/>
                </a:lnTo>
                <a:lnTo>
                  <a:pt x="1" y="150"/>
                </a:lnTo>
                <a:lnTo>
                  <a:pt x="0" y="138"/>
                </a:lnTo>
                <a:lnTo>
                  <a:pt x="0" y="126"/>
                </a:lnTo>
                <a:lnTo>
                  <a:pt x="0" y="115"/>
                </a:lnTo>
                <a:lnTo>
                  <a:pt x="0" y="103"/>
                </a:lnTo>
                <a:lnTo>
                  <a:pt x="1" y="92"/>
                </a:lnTo>
                <a:lnTo>
                  <a:pt x="1" y="80"/>
                </a:lnTo>
                <a:lnTo>
                  <a:pt x="1" y="70"/>
                </a:lnTo>
                <a:lnTo>
                  <a:pt x="2" y="60"/>
                </a:lnTo>
                <a:lnTo>
                  <a:pt x="2" y="51"/>
                </a:lnTo>
                <a:lnTo>
                  <a:pt x="2" y="43"/>
                </a:lnTo>
                <a:lnTo>
                  <a:pt x="3" y="36"/>
                </a:lnTo>
                <a:lnTo>
                  <a:pt x="3" y="29"/>
                </a:lnTo>
                <a:lnTo>
                  <a:pt x="3" y="23"/>
                </a:lnTo>
                <a:lnTo>
                  <a:pt x="3" y="17"/>
                </a:lnTo>
                <a:lnTo>
                  <a:pt x="4" y="13"/>
                </a:lnTo>
                <a:lnTo>
                  <a:pt x="4" y="9"/>
                </a:lnTo>
                <a:lnTo>
                  <a:pt x="4" y="5"/>
                </a:lnTo>
                <a:lnTo>
                  <a:pt x="4" y="3"/>
                </a:lnTo>
                <a:lnTo>
                  <a:pt x="4" y="1"/>
                </a:lnTo>
                <a:lnTo>
                  <a:pt x="4" y="0"/>
                </a:lnTo>
                <a:lnTo>
                  <a:pt x="5" y="0"/>
                </a:lnTo>
                <a:lnTo>
                  <a:pt x="7" y="1"/>
                </a:lnTo>
                <a:lnTo>
                  <a:pt x="9" y="2"/>
                </a:lnTo>
                <a:lnTo>
                  <a:pt x="12" y="3"/>
                </a:lnTo>
                <a:lnTo>
                  <a:pt x="15" y="5"/>
                </a:lnTo>
                <a:lnTo>
                  <a:pt x="19" y="6"/>
                </a:lnTo>
                <a:lnTo>
                  <a:pt x="24" y="9"/>
                </a:lnTo>
                <a:lnTo>
                  <a:pt x="30" y="11"/>
                </a:lnTo>
                <a:lnTo>
                  <a:pt x="36" y="14"/>
                </a:lnTo>
                <a:lnTo>
                  <a:pt x="42" y="16"/>
                </a:lnTo>
                <a:lnTo>
                  <a:pt x="49" y="20"/>
                </a:lnTo>
                <a:lnTo>
                  <a:pt x="57" y="23"/>
                </a:lnTo>
                <a:lnTo>
                  <a:pt x="66" y="27"/>
                </a:lnTo>
                <a:lnTo>
                  <a:pt x="75" y="31"/>
                </a:lnTo>
                <a:lnTo>
                  <a:pt x="85" y="3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263128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3669" y="983136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>
            <a:off x="3280746" y="1809309"/>
            <a:ext cx="5878941" cy="3966755"/>
            <a:chOff x="1519" y="1117"/>
            <a:chExt cx="2722" cy="244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519" y="2691"/>
              <a:ext cx="2722" cy="875"/>
            </a:xfrm>
            <a:custGeom>
              <a:avLst/>
              <a:gdLst>
                <a:gd name="T0" fmla="*/ 0 w 2689"/>
                <a:gd name="T1" fmla="*/ 884 h 865"/>
                <a:gd name="T2" fmla="*/ 1377 w 2689"/>
                <a:gd name="T3" fmla="*/ 0 h 865"/>
                <a:gd name="T4" fmla="*/ 2754 w 2689"/>
                <a:gd name="T5" fmla="*/ 884 h 865"/>
                <a:gd name="T6" fmla="*/ 0 w 2689"/>
                <a:gd name="T7" fmla="*/ 884 h 8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89" h="865">
                  <a:moveTo>
                    <a:pt x="0" y="864"/>
                  </a:moveTo>
                  <a:lnTo>
                    <a:pt x="1344" y="0"/>
                  </a:lnTo>
                  <a:lnTo>
                    <a:pt x="2688" y="864"/>
                  </a:lnTo>
                  <a:lnTo>
                    <a:pt x="0" y="864"/>
                  </a:lnTo>
                </a:path>
              </a:pathLst>
            </a:custGeom>
            <a:solidFill>
              <a:schemeClr val="hlink"/>
            </a:solidFill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878" y="1117"/>
              <a:ext cx="1363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81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flipH="1">
              <a:off x="1519" y="1117"/>
              <a:ext cx="1362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79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1767004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kom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72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069984" y="2818907"/>
            <a:ext cx="4430557" cy="8430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" name="Picture 23" descr="dd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-6345" y="26"/>
            <a:ext cx="243416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2623069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/>
          <p:cNvSpPr>
            <a:spLocks noGrp="1" noChangeArrowheads="1"/>
          </p:cNvSpPr>
          <p:nvPr>
            <p:ph type="ftr" sz="quarter" idx="10"/>
          </p:nvPr>
        </p:nvSpPr>
        <p:spPr>
          <a:xfrm>
            <a:off x="4176245" y="6453189"/>
            <a:ext cx="3839633" cy="268287"/>
          </a:xfrm>
          <a:prstGeom prst="rect">
            <a:avLst/>
          </a:prstGeom>
          <a:ln/>
        </p:spPr>
        <p:txBody>
          <a:bodyPr lIns="91006" tIns="45505" rIns="91006" bIns="4550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600">
              <a:solidFill>
                <a:srgbClr val="003896"/>
              </a:solidFill>
            </a:endParaRPr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689F6-9125-41BE-8AC3-B9F4C130D05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59099174"/>
      </p:ext>
    </p:extLst>
  </p:cSld>
  <p:clrMapOvr>
    <a:masterClrMapping/>
  </p:clrMapOvr>
  <p:transition spd="slow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6350" y="0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 cstate="email">
                <a:lum contrast="1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 cstate="email">
                <a:lum contrast="6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8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8" y="4092576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45221353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371" y="1067498"/>
            <a:ext cx="11171767" cy="504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74E5EA-4ED7-4B60-B450-C657FEFBB57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  <p:sp>
        <p:nvSpPr>
          <p:cNvPr id="7" name="Rectangle 6"/>
          <p:cNvSpPr/>
          <p:nvPr userDrawn="1"/>
        </p:nvSpPr>
        <p:spPr>
          <a:xfrm>
            <a:off x="11088555" y="6112573"/>
            <a:ext cx="768085" cy="6089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865645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5EF37-25DD-4FE1-9432-22FE61E27B0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1103145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89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89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C6E392-ED80-4ABE-9DFA-1DA0DB2DF75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06357294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B3C797-5BA7-4E41-9C35-EE28D6EEF082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DBEF7-3941-4567-9F45-CC3F93AC7FC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5343611"/>
      </p:ext>
    </p:extLst>
  </p:cSld>
  <p:clrMapOvr>
    <a:masterClrMapping/>
  </p:clrMapOvr>
  <p:transition spd="slow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02EA86-1764-4483-89B3-93C50E4F0B9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84930068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C8C63A-B281-4D86-B23B-D8F924F23EF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05150143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2CD49-1FF7-4E75-9972-9171E81635B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93196106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395D80-1432-4CDC-94FB-60059D4DA61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99605708"/>
      </p:ext>
    </p:extLst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A8758-A40F-4881-9A3F-F6869818041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41222822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B3606A-8FB8-4A1E-8AAC-9904746D1EF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64000466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2E905B-AACB-4233-9F97-5599332E2EC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76311992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5" y="166689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4" y="6453189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3FF2C4-458A-4C8A-BDA8-9D4A0569E87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2981521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2F40C-D453-4BDD-8F34-5A52171390C9}" type="datetime3">
              <a:rPr lang="en-US" smtClean="0"/>
              <a:t>18 March 2026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1712B2-883E-47CA-8ABF-7FD2AC4BE7B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29109267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3BBC5-CB03-47B9-943D-A5C8F5C4B3FB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1E0D73-49E2-40D0-A1DD-BD9F73FBE08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07800825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9E2BAE-A91E-44A1-AD00-1BEAF9FD1214}" type="datetime3">
              <a:rPr lang="en-US" smtClean="0"/>
              <a:t>18 March 2026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BF6D38-A997-4BB5-89BF-CC32C1435B6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9726601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EA2616-D261-42CD-9CC2-01109845AD7D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02B5A2-9F1B-4596-80F3-BA1C2356013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222007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71607054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C182A4-00DA-479F-B8B2-81E21DAA8B1A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3A2B3-C7A2-4BC0-9D24-4678CDBD6B4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5485132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0A2C06-75A7-4E29-A753-4BB2CA85117D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DBC895-D267-4663-983C-E86745B09D2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86532769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259A1C-CE81-43D2-874D-F83522D29F51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EB2DB-40BE-4E8C-825B-5A028E3993D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04135887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2BA4CE-8A8B-4333-9DC5-8AE2B5C4D5CE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5" y="6453247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49B07-DDCC-400C-86CC-D5DC3B1E9BB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55478956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2239" y="1686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39" y="1686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Rectangle 145"/>
          <p:cNvSpPr/>
          <p:nvPr userDrawn="1"/>
        </p:nvSpPr>
        <p:spPr>
          <a:xfrm>
            <a:off x="75218" y="26"/>
            <a:ext cx="4078817" cy="6858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92786" tIns="46398" rIns="92786" bIns="46398" anchor="ctr"/>
          <a:lstStyle/>
          <a:p>
            <a:pPr algn="ctr">
              <a:defRPr/>
            </a:pPr>
            <a:endParaRPr lang="en-US" sz="1800" kern="0">
              <a:solidFill>
                <a:srgbClr val="FFFFFF"/>
              </a:solidFill>
            </a:endParaRPr>
          </a:p>
        </p:txBody>
      </p:sp>
      <p:grpSp>
        <p:nvGrpSpPr>
          <p:cNvPr id="197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198" name="Picture 23" descr="d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91"/>
            <p:cNvSpPr>
              <a:spLocks noChangeArrowheads="1"/>
            </p:cNvSpPr>
            <p:nvPr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pic>
          <p:nvPicPr>
            <p:cNvPr id="200" name="Picture 161" descr="logo small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438667" y="5106070"/>
            <a:ext cx="6714780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438653" y="2283937"/>
            <a:ext cx="7047099" cy="5103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438653" y="4198173"/>
            <a:ext cx="7047099" cy="290144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147" name="Group 155"/>
          <p:cNvGrpSpPr>
            <a:grpSpLocks/>
          </p:cNvGrpSpPr>
          <p:nvPr userDrawn="1"/>
        </p:nvGrpSpPr>
        <p:grpSpPr bwMode="auto">
          <a:xfrm>
            <a:off x="342909" y="1201748"/>
            <a:ext cx="3310467" cy="2444750"/>
            <a:chOff x="162" y="757"/>
            <a:chExt cx="1564" cy="1540"/>
          </a:xfrm>
        </p:grpSpPr>
        <p:sp>
          <p:nvSpPr>
            <p:cNvPr id="148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49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0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1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2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53" name="Oval 102"/>
          <p:cNvSpPr>
            <a:spLocks noChangeArrowheads="1"/>
          </p:cNvSpPr>
          <p:nvPr userDrawn="1"/>
        </p:nvSpPr>
        <p:spPr bwMode="auto">
          <a:xfrm>
            <a:off x="582159" y="1362093"/>
            <a:ext cx="2882900" cy="2173288"/>
          </a:xfrm>
          <a:prstGeom prst="ellipse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3896"/>
              </a:solidFill>
            </a:endParaRPr>
          </a:p>
        </p:txBody>
      </p:sp>
      <p:grpSp>
        <p:nvGrpSpPr>
          <p:cNvPr id="154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55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6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7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58" name="Group 146"/>
          <p:cNvGrpSpPr>
            <a:grpSpLocks/>
          </p:cNvGrpSpPr>
          <p:nvPr userDrawn="1"/>
        </p:nvGrpSpPr>
        <p:grpSpPr bwMode="auto">
          <a:xfrm>
            <a:off x="1217153" y="620735"/>
            <a:ext cx="1712383" cy="1260475"/>
            <a:chOff x="575" y="391"/>
            <a:chExt cx="809" cy="794"/>
          </a:xfrm>
        </p:grpSpPr>
        <p:sp>
          <p:nvSpPr>
            <p:cNvPr id="159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0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1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2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3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4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5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6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67" name="Oval 118"/>
          <p:cNvSpPr>
            <a:spLocks noChangeArrowheads="1"/>
          </p:cNvSpPr>
          <p:nvPr userDrawn="1"/>
        </p:nvSpPr>
        <p:spPr bwMode="auto">
          <a:xfrm>
            <a:off x="1322917" y="657224"/>
            <a:ext cx="1481667" cy="1112838"/>
          </a:xfrm>
          <a:prstGeom prst="ellipse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">
              <a:solidFill>
                <a:srgbClr val="003896"/>
              </a:solidFill>
            </a:endParaRPr>
          </a:p>
        </p:txBody>
      </p:sp>
      <p:grpSp>
        <p:nvGrpSpPr>
          <p:cNvPr id="168" name="Group 145"/>
          <p:cNvGrpSpPr>
            <a:grpSpLocks/>
          </p:cNvGrpSpPr>
          <p:nvPr userDrawn="1"/>
        </p:nvGrpSpPr>
        <p:grpSpPr bwMode="auto">
          <a:xfrm>
            <a:off x="1151483" y="620735"/>
            <a:ext cx="1826684" cy="1284287"/>
            <a:chOff x="544" y="391"/>
            <a:chExt cx="863" cy="809"/>
          </a:xfrm>
        </p:grpSpPr>
        <p:sp>
          <p:nvSpPr>
            <p:cNvPr id="169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0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1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72" name="Group 157"/>
          <p:cNvGrpSpPr>
            <a:grpSpLocks/>
          </p:cNvGrpSpPr>
          <p:nvPr userDrawn="1"/>
        </p:nvGrpSpPr>
        <p:grpSpPr bwMode="auto">
          <a:xfrm>
            <a:off x="442401" y="3090863"/>
            <a:ext cx="2766483" cy="2038350"/>
            <a:chOff x="209" y="1947"/>
            <a:chExt cx="1307" cy="1284"/>
          </a:xfrm>
        </p:grpSpPr>
        <p:sp>
          <p:nvSpPr>
            <p:cNvPr id="173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4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5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6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7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8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79" name="Oval 128"/>
          <p:cNvSpPr>
            <a:spLocks noChangeArrowheads="1"/>
          </p:cNvSpPr>
          <p:nvPr userDrawn="1"/>
        </p:nvSpPr>
        <p:spPr bwMode="auto">
          <a:xfrm>
            <a:off x="643567" y="3227388"/>
            <a:ext cx="2402417" cy="1814512"/>
          </a:xfrm>
          <a:prstGeom prst="ellipse">
            <a:avLst/>
          </a:prstGeom>
          <a:blipFill dpi="0" rotWithShape="1">
            <a:blip r:embed="rId9">
              <a:alphaModFix amt="73000"/>
            </a:blip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C0C0C0"/>
              </a:solidFill>
            </a:endParaRPr>
          </a:p>
        </p:txBody>
      </p:sp>
      <p:grpSp>
        <p:nvGrpSpPr>
          <p:cNvPr id="180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181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2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3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84" name="Group 159"/>
          <p:cNvGrpSpPr>
            <a:grpSpLocks/>
          </p:cNvGrpSpPr>
          <p:nvPr userDrawn="1"/>
        </p:nvGrpSpPr>
        <p:grpSpPr bwMode="auto">
          <a:xfrm>
            <a:off x="1200226" y="4684774"/>
            <a:ext cx="2290233" cy="1692275"/>
            <a:chOff x="567" y="2951"/>
            <a:chExt cx="1082" cy="1066"/>
          </a:xfrm>
        </p:grpSpPr>
        <p:sp>
          <p:nvSpPr>
            <p:cNvPr id="185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6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7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8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9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0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91" name="Oval 138"/>
          <p:cNvSpPr>
            <a:spLocks noChangeArrowheads="1"/>
          </p:cNvSpPr>
          <p:nvPr userDrawn="1"/>
        </p:nvSpPr>
        <p:spPr bwMode="auto">
          <a:xfrm>
            <a:off x="1352623" y="4746626"/>
            <a:ext cx="2008716" cy="1519238"/>
          </a:xfrm>
          <a:prstGeom prst="ellipse">
            <a:avLst/>
          </a:prstGeom>
          <a:blipFill dpi="0" rotWithShape="1">
            <a:blip r:embed="rId10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C0C0C0"/>
              </a:solidFill>
            </a:endParaRPr>
          </a:p>
        </p:txBody>
      </p:sp>
      <p:grpSp>
        <p:nvGrpSpPr>
          <p:cNvPr id="192" name="Group 160"/>
          <p:cNvGrpSpPr>
            <a:grpSpLocks/>
          </p:cNvGrpSpPr>
          <p:nvPr userDrawn="1"/>
        </p:nvGrpSpPr>
        <p:grpSpPr bwMode="auto">
          <a:xfrm>
            <a:off x="1117600" y="4684827"/>
            <a:ext cx="2438400" cy="1728787"/>
            <a:chOff x="528" y="2951"/>
            <a:chExt cx="1152" cy="1089"/>
          </a:xfrm>
        </p:grpSpPr>
        <p:sp>
          <p:nvSpPr>
            <p:cNvPr id="193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4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5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pic>
        <p:nvPicPr>
          <p:cNvPr id="196" name="Picture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307" y="5910324"/>
            <a:ext cx="436456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249429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" y="26"/>
            <a:ext cx="407881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8" tIns="45467" rIns="90928" bIns="4546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5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6" name="Picture 23" descr="dd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pic>
          <p:nvPicPr>
            <p:cNvPr id="8" name="Picture 161" descr="logo small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55"/>
          <p:cNvGrpSpPr>
            <a:grpSpLocks/>
          </p:cNvGrpSpPr>
          <p:nvPr userDrawn="1"/>
        </p:nvGrpSpPr>
        <p:grpSpPr bwMode="auto">
          <a:xfrm>
            <a:off x="342909" y="1201748"/>
            <a:ext cx="3310467" cy="2444750"/>
            <a:chOff x="162" y="757"/>
            <a:chExt cx="1564" cy="1540"/>
          </a:xfrm>
        </p:grpSpPr>
        <p:sp>
          <p:nvSpPr>
            <p:cNvPr id="10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1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2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3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4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15" name="Oval 102" descr="DSC_4904"/>
          <p:cNvSpPr>
            <a:spLocks noChangeArrowheads="1"/>
          </p:cNvSpPr>
          <p:nvPr userDrawn="1"/>
        </p:nvSpPr>
        <p:spPr bwMode="auto">
          <a:xfrm>
            <a:off x="582159" y="1362093"/>
            <a:ext cx="2882900" cy="2173288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28" tIns="45467" rIns="90928" bIns="45467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1000"/>
          </a:p>
        </p:txBody>
      </p:sp>
      <p:grpSp>
        <p:nvGrpSpPr>
          <p:cNvPr id="16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7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8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9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20" name="Group 146"/>
          <p:cNvGrpSpPr>
            <a:grpSpLocks/>
          </p:cNvGrpSpPr>
          <p:nvPr userDrawn="1"/>
        </p:nvGrpSpPr>
        <p:grpSpPr bwMode="auto">
          <a:xfrm>
            <a:off x="1217153" y="620735"/>
            <a:ext cx="1712383" cy="1260475"/>
            <a:chOff x="575" y="391"/>
            <a:chExt cx="809" cy="794"/>
          </a:xfrm>
        </p:grpSpPr>
        <p:sp>
          <p:nvSpPr>
            <p:cNvPr id="21" name="Oval 147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2" name="Oval 148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3" name="Oval 149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4" name="Oval 150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5" name="Oval 151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6" name="Oval 152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7" name="Oval 153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8" name="Oval 154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4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29" name="Oval 118"/>
          <p:cNvSpPr>
            <a:spLocks noChangeArrowheads="1"/>
          </p:cNvSpPr>
          <p:nvPr userDrawn="1"/>
        </p:nvSpPr>
        <p:spPr bwMode="auto">
          <a:xfrm>
            <a:off x="1339853" y="706497"/>
            <a:ext cx="1481667" cy="1112837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28" tIns="45467" rIns="90928" bIns="45467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600"/>
          </a:p>
        </p:txBody>
      </p:sp>
      <p:grpSp>
        <p:nvGrpSpPr>
          <p:cNvPr id="30" name="Group 145"/>
          <p:cNvGrpSpPr>
            <a:grpSpLocks/>
          </p:cNvGrpSpPr>
          <p:nvPr userDrawn="1"/>
        </p:nvGrpSpPr>
        <p:grpSpPr bwMode="auto">
          <a:xfrm>
            <a:off x="1151483" y="620735"/>
            <a:ext cx="1826684" cy="1284287"/>
            <a:chOff x="544" y="391"/>
            <a:chExt cx="863" cy="809"/>
          </a:xfrm>
        </p:grpSpPr>
        <p:sp>
          <p:nvSpPr>
            <p:cNvPr id="31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2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3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1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34" name="Group 157"/>
          <p:cNvGrpSpPr>
            <a:grpSpLocks/>
          </p:cNvGrpSpPr>
          <p:nvPr userDrawn="1"/>
        </p:nvGrpSpPr>
        <p:grpSpPr bwMode="auto">
          <a:xfrm>
            <a:off x="442401" y="3090863"/>
            <a:ext cx="2766483" cy="2038350"/>
            <a:chOff x="209" y="1947"/>
            <a:chExt cx="1307" cy="1284"/>
          </a:xfrm>
        </p:grpSpPr>
        <p:sp>
          <p:nvSpPr>
            <p:cNvPr id="35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6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3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7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8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9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0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41" name="Oval 128"/>
          <p:cNvGrpSpPr>
            <a:grpSpLocks/>
          </p:cNvGrpSpPr>
          <p:nvPr userDrawn="1"/>
        </p:nvGrpSpPr>
        <p:grpSpPr bwMode="auto">
          <a:xfrm>
            <a:off x="635013" y="3219450"/>
            <a:ext cx="2421467" cy="1828800"/>
            <a:chOff x="300" y="2028"/>
            <a:chExt cx="1144" cy="1152"/>
          </a:xfrm>
        </p:grpSpPr>
        <p:pic>
          <p:nvPicPr>
            <p:cNvPr id="42" name="Oval 128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" y="2028"/>
              <a:ext cx="1144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Text Box 12"/>
            <p:cNvSpPr txBox="1">
              <a:spLocks noChangeArrowheads="1"/>
            </p:cNvSpPr>
            <p:nvPr/>
          </p:nvSpPr>
          <p:spPr bwMode="auto">
            <a:xfrm>
              <a:off x="470" y="2200"/>
              <a:ext cx="803" cy="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00">
                <a:solidFill>
                  <a:srgbClr val="C0C0C0"/>
                </a:solidFill>
              </a:endParaRPr>
            </a:p>
          </p:txBody>
        </p:sp>
      </p:grpSp>
      <p:grpSp>
        <p:nvGrpSpPr>
          <p:cNvPr id="44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45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6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7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48" name="Group 159"/>
          <p:cNvGrpSpPr>
            <a:grpSpLocks/>
          </p:cNvGrpSpPr>
          <p:nvPr userDrawn="1"/>
        </p:nvGrpSpPr>
        <p:grpSpPr bwMode="auto">
          <a:xfrm>
            <a:off x="1200226" y="4684772"/>
            <a:ext cx="2290233" cy="1692275"/>
            <a:chOff x="567" y="2951"/>
            <a:chExt cx="1082" cy="1066"/>
          </a:xfrm>
        </p:grpSpPr>
        <p:sp>
          <p:nvSpPr>
            <p:cNvPr id="4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3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55" name="Oval 138"/>
          <p:cNvGrpSpPr>
            <a:grpSpLocks/>
          </p:cNvGrpSpPr>
          <p:nvPr userDrawn="1"/>
        </p:nvGrpSpPr>
        <p:grpSpPr bwMode="auto">
          <a:xfrm>
            <a:off x="1341968" y="4784725"/>
            <a:ext cx="2032000" cy="1530350"/>
            <a:chOff x="634" y="3014"/>
            <a:chExt cx="960" cy="964"/>
          </a:xfrm>
        </p:grpSpPr>
        <p:pic>
          <p:nvPicPr>
            <p:cNvPr id="56" name="Oval 138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" y="3014"/>
              <a:ext cx="960" cy="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Text Box 17"/>
            <p:cNvSpPr txBox="1">
              <a:spLocks noChangeArrowheads="1"/>
            </p:cNvSpPr>
            <p:nvPr/>
          </p:nvSpPr>
          <p:spPr bwMode="auto">
            <a:xfrm>
              <a:off x="778" y="3158"/>
              <a:ext cx="671" cy="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>
                <a:solidFill>
                  <a:srgbClr val="C0C0C0"/>
                </a:solidFill>
              </a:endParaRPr>
            </a:p>
          </p:txBody>
        </p:sp>
      </p:grpSp>
      <p:grpSp>
        <p:nvGrpSpPr>
          <p:cNvPr id="58" name="Group 160"/>
          <p:cNvGrpSpPr>
            <a:grpSpLocks/>
          </p:cNvGrpSpPr>
          <p:nvPr userDrawn="1"/>
        </p:nvGrpSpPr>
        <p:grpSpPr bwMode="auto">
          <a:xfrm>
            <a:off x="1117600" y="4684826"/>
            <a:ext cx="2438400" cy="1728787"/>
            <a:chOff x="528" y="2951"/>
            <a:chExt cx="1152" cy="1089"/>
          </a:xfrm>
        </p:grpSpPr>
        <p:sp>
          <p:nvSpPr>
            <p:cNvPr id="59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60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61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5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165602" y="2130515"/>
            <a:ext cx="7112001" cy="2162175"/>
          </a:xfrm>
        </p:spPr>
        <p:txBody>
          <a:bodyPr/>
          <a:lstStyle>
            <a:lvl1pPr algn="ct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78895" y="4684788"/>
            <a:ext cx="7393516" cy="954087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2" name="Rectangle 37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41"/>
            <a:ext cx="2844800" cy="476250"/>
          </a:xfrm>
        </p:spPr>
        <p:txBody>
          <a:bodyPr/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4006E483-383B-4FD8-93DE-6D5D1DA1C769}" type="datetime3">
              <a:rPr lang="en-US" smtClean="0"/>
              <a:t>18 March 2026</a:t>
            </a:fld>
            <a:endParaRPr lang="en-ZA"/>
          </a:p>
        </p:txBody>
      </p:sp>
      <p:sp>
        <p:nvSpPr>
          <p:cNvPr id="63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1" y="6245241"/>
            <a:ext cx="3860800" cy="476250"/>
          </a:xfrm>
          <a:prstGeom prst="rect">
            <a:avLst/>
          </a:prstGeom>
        </p:spPr>
        <p:txBody>
          <a:bodyPr lIns="92786" tIns="46398" rIns="92786" bIns="4639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>
              <a:solidFill>
                <a:srgbClr val="003896"/>
              </a:solidFill>
            </a:endParaRPr>
          </a:p>
        </p:txBody>
      </p:sp>
      <p:sp>
        <p:nvSpPr>
          <p:cNvPr id="64" name="Rectangle 3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41"/>
            <a:ext cx="2844800" cy="476250"/>
          </a:xfrm>
        </p:spPr>
        <p:txBody>
          <a:bodyPr/>
          <a:lstStyle>
            <a:lvl1pPr algn="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B5C77F55-BB69-4AFF-94BF-43BA7F0502A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88486134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323" y="1268761"/>
            <a:ext cx="11172092" cy="5213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49108141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6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4633" indent="0">
              <a:buNone/>
              <a:defRPr sz="1800"/>
            </a:lvl2pPr>
            <a:lvl3pPr marL="909278" indent="0">
              <a:buNone/>
              <a:defRPr sz="1600"/>
            </a:lvl3pPr>
            <a:lvl4pPr marL="1363916" indent="0">
              <a:buNone/>
              <a:defRPr sz="1400"/>
            </a:lvl4pPr>
            <a:lvl5pPr marL="1818554" indent="0">
              <a:buNone/>
              <a:defRPr sz="1400"/>
            </a:lvl5pPr>
            <a:lvl6pPr marL="2273191" indent="0">
              <a:buNone/>
              <a:defRPr sz="1400"/>
            </a:lvl6pPr>
            <a:lvl7pPr marL="2727834" indent="0">
              <a:buNone/>
              <a:defRPr sz="1400"/>
            </a:lvl7pPr>
            <a:lvl8pPr marL="3182473" indent="0">
              <a:buNone/>
              <a:defRPr sz="1400"/>
            </a:lvl8pPr>
            <a:lvl9pPr marL="36371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924E7-900B-4326-B5DF-16779AC64E21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EFCAC-3ACE-4AF3-AF26-F063C36430C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4951036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109" y="1436742"/>
            <a:ext cx="5484283" cy="50450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75" y="1436742"/>
            <a:ext cx="5484284" cy="50450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8D6A54-C36A-46DA-831C-4F597E8C082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9500822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8" y="6453247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27346902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627963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and Tex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8" y="6453247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03497900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 with Footnot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7404956" y="1589087"/>
            <a:ext cx="4359585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8" y="6453247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577960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8" y="6453247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5126503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6220208" y="3351313"/>
            <a:ext cx="3429743" cy="22773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>
            <a:lvl1pPr marL="342900" indent="-342900"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92088" indent="-188913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76238" indent="-182563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1500" indent="-193675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287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59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31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03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225" lvl="2" indent="0" fontAlgn="base">
              <a:spcAft>
                <a:spcPct val="0"/>
              </a:spcAft>
              <a:buFontTx/>
              <a:buNone/>
            </a:pPr>
            <a:endParaRPr lang="en-GB" altLang="en-US" sz="1400">
              <a:solidFill>
                <a:srgbClr val="003896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03669" y="932973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8" name="Oval 5"/>
          <p:cNvSpPr>
            <a:spLocks noChangeArrowheads="1"/>
          </p:cNvSpPr>
          <p:nvPr userDrawn="1"/>
        </p:nvSpPr>
        <p:spPr bwMode="auto">
          <a:xfrm>
            <a:off x="6513960" y="2763361"/>
            <a:ext cx="587463" cy="440571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786" tIns="46398" rIns="92786" bIns="46398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grpSp>
        <p:nvGrpSpPr>
          <p:cNvPr id="9" name="Group 6"/>
          <p:cNvGrpSpPr>
            <a:grpSpLocks/>
          </p:cNvGrpSpPr>
          <p:nvPr userDrawn="1"/>
        </p:nvGrpSpPr>
        <p:grpSpPr bwMode="auto">
          <a:xfrm>
            <a:off x="2889903" y="2492788"/>
            <a:ext cx="3436223" cy="3109910"/>
            <a:chOff x="1577" y="1539"/>
            <a:chExt cx="1591" cy="1920"/>
          </a:xfrm>
        </p:grpSpPr>
        <p:sp>
          <p:nvSpPr>
            <p:cNvPr id="10" name="Arc 7"/>
            <p:cNvSpPr>
              <a:spLocks/>
            </p:cNvSpPr>
            <p:nvPr/>
          </p:nvSpPr>
          <p:spPr bwMode="auto">
            <a:xfrm>
              <a:off x="1577" y="2573"/>
              <a:ext cx="538" cy="886"/>
            </a:xfrm>
            <a:custGeom>
              <a:avLst/>
              <a:gdLst>
                <a:gd name="T0" fmla="*/ 0 w 28334"/>
                <a:gd name="T1" fmla="*/ 2 h 21600"/>
                <a:gd name="T2" fmla="*/ 10 w 28334"/>
                <a:gd name="T3" fmla="*/ 36 h 21600"/>
                <a:gd name="T4" fmla="*/ 2 w 28334"/>
                <a:gd name="T5" fmla="*/ 36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334" h="21600" fill="none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</a:path>
                <a:path w="28334" h="21600" stroke="0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  <a:lnTo>
                    <a:pt x="6734" y="21600"/>
                  </a:lnTo>
                  <a:lnTo>
                    <a:pt x="-1" y="1076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1" name="Arc 8"/>
            <p:cNvSpPr>
              <a:spLocks/>
            </p:cNvSpPr>
            <p:nvPr/>
          </p:nvSpPr>
          <p:spPr bwMode="auto">
            <a:xfrm>
              <a:off x="2103" y="1539"/>
              <a:ext cx="1065" cy="1920"/>
            </a:xfrm>
            <a:custGeom>
              <a:avLst/>
              <a:gdLst>
                <a:gd name="T0" fmla="*/ 0 w 28293"/>
                <a:gd name="T1" fmla="*/ 170 h 21600"/>
                <a:gd name="T2" fmla="*/ 40 w 28293"/>
                <a:gd name="T3" fmla="*/ 8 h 21600"/>
                <a:gd name="T4" fmla="*/ 31 w 28293"/>
                <a:gd name="T5" fmla="*/ 17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293" h="21600" fill="none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</a:path>
                <a:path w="28293" h="21600" stroke="0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  <a:lnTo>
                    <a:pt x="21600" y="21600"/>
                  </a:lnTo>
                  <a:lnTo>
                    <a:pt x="0" y="21544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2" name="Line 9"/>
          <p:cNvSpPr>
            <a:spLocks noChangeShapeType="1"/>
          </p:cNvSpPr>
          <p:nvPr userDrawn="1"/>
        </p:nvSpPr>
        <p:spPr bwMode="auto">
          <a:xfrm flipH="1">
            <a:off x="2790476" y="5753334"/>
            <a:ext cx="684652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880699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Oval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339067" y="3131027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7" name="Oval 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183635" y="3131027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8" name="Oval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261347" y="1661916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331073" y="1003195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10" name="Freeform 7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207267" y="3130967"/>
            <a:ext cx="1971887" cy="1334670"/>
          </a:xfrm>
          <a:custGeom>
            <a:avLst/>
            <a:gdLst>
              <a:gd name="T0" fmla="*/ 262096340 w 913"/>
              <a:gd name="T1" fmla="*/ 579627938 h 815"/>
              <a:gd name="T2" fmla="*/ 378023568 w 913"/>
              <a:gd name="T3" fmla="*/ 692976809 h 815"/>
              <a:gd name="T4" fmla="*/ 498991110 w 913"/>
              <a:gd name="T5" fmla="*/ 832088028 h 815"/>
              <a:gd name="T6" fmla="*/ 619958651 w 913"/>
              <a:gd name="T7" fmla="*/ 991807840 h 815"/>
              <a:gd name="T8" fmla="*/ 725805250 w 913"/>
              <a:gd name="T9" fmla="*/ 1151527653 h 815"/>
              <a:gd name="T10" fmla="*/ 811490592 w 913"/>
              <a:gd name="T11" fmla="*/ 1311247465 h 815"/>
              <a:gd name="T12" fmla="*/ 879535628 w 913"/>
              <a:gd name="T13" fmla="*/ 1468389598 h 815"/>
              <a:gd name="T14" fmla="*/ 932458134 w 913"/>
              <a:gd name="T15" fmla="*/ 1617805114 h 815"/>
              <a:gd name="T16" fmla="*/ 972780648 w 913"/>
              <a:gd name="T17" fmla="*/ 1764644555 h 815"/>
              <a:gd name="T18" fmla="*/ 997982219 w 913"/>
              <a:gd name="T19" fmla="*/ 1903755774 h 815"/>
              <a:gd name="T20" fmla="*/ 1015624113 w 913"/>
              <a:gd name="T21" fmla="*/ 2011952497 h 815"/>
              <a:gd name="T22" fmla="*/ 1025704741 w 913"/>
              <a:gd name="T23" fmla="*/ 2076355958 h 815"/>
              <a:gd name="T24" fmla="*/ 1028224105 w 913"/>
              <a:gd name="T25" fmla="*/ 2096964552 h 815"/>
              <a:gd name="T26" fmla="*/ 1043345047 w 913"/>
              <a:gd name="T27" fmla="*/ 2086660255 h 815"/>
              <a:gd name="T28" fmla="*/ 1093748190 w 913"/>
              <a:gd name="T29" fmla="*/ 2058323438 h 815"/>
              <a:gd name="T30" fmla="*/ 1176914169 w 913"/>
              <a:gd name="T31" fmla="*/ 2011952497 h 815"/>
              <a:gd name="T32" fmla="*/ 1285280131 w 913"/>
              <a:gd name="T33" fmla="*/ 1947549036 h 815"/>
              <a:gd name="T34" fmla="*/ 1403728309 w 913"/>
              <a:gd name="T35" fmla="*/ 1857384833 h 815"/>
              <a:gd name="T36" fmla="*/ 1534776479 w 913"/>
              <a:gd name="T37" fmla="*/ 1746612036 h 815"/>
              <a:gd name="T38" fmla="*/ 1670864964 w 913"/>
              <a:gd name="T39" fmla="*/ 1615229040 h 815"/>
              <a:gd name="T40" fmla="*/ 1794351869 w 913"/>
              <a:gd name="T41" fmla="*/ 1470967278 h 815"/>
              <a:gd name="T42" fmla="*/ 1907759733 w 913"/>
              <a:gd name="T43" fmla="*/ 1313823539 h 815"/>
              <a:gd name="T44" fmla="*/ 2008566018 w 913"/>
              <a:gd name="T45" fmla="*/ 1146375504 h 815"/>
              <a:gd name="T46" fmla="*/ 2091730409 w 913"/>
              <a:gd name="T47" fmla="*/ 984079617 h 815"/>
              <a:gd name="T48" fmla="*/ 2147483646 w 913"/>
              <a:gd name="T49" fmla="*/ 829511953 h 815"/>
              <a:gd name="T50" fmla="*/ 2147483646 w 913"/>
              <a:gd name="T51" fmla="*/ 685248586 h 815"/>
              <a:gd name="T52" fmla="*/ 2147483646 w 913"/>
              <a:gd name="T53" fmla="*/ 556443270 h 815"/>
              <a:gd name="T54" fmla="*/ 2147483646 w 913"/>
              <a:gd name="T55" fmla="*/ 453397090 h 815"/>
              <a:gd name="T56" fmla="*/ 2147483646 w 913"/>
              <a:gd name="T57" fmla="*/ 370961110 h 815"/>
              <a:gd name="T58" fmla="*/ 2147483646 w 913"/>
              <a:gd name="T59" fmla="*/ 311711402 h 815"/>
              <a:gd name="T60" fmla="*/ 2147483646 w 913"/>
              <a:gd name="T61" fmla="*/ 273068684 h 815"/>
              <a:gd name="T62" fmla="*/ 2147483646 w 913"/>
              <a:gd name="T63" fmla="*/ 257612238 h 815"/>
              <a:gd name="T64" fmla="*/ 2147483646 w 913"/>
              <a:gd name="T65" fmla="*/ 249884016 h 815"/>
              <a:gd name="T66" fmla="*/ 2147483646 w 913"/>
              <a:gd name="T67" fmla="*/ 231851496 h 815"/>
              <a:gd name="T68" fmla="*/ 2147483646 w 913"/>
              <a:gd name="T69" fmla="*/ 200937000 h 815"/>
              <a:gd name="T70" fmla="*/ 2099291674 w 913"/>
              <a:gd name="T71" fmla="*/ 159719813 h 815"/>
              <a:gd name="T72" fmla="*/ 1985883810 w 913"/>
              <a:gd name="T73" fmla="*/ 118501020 h 815"/>
              <a:gd name="T74" fmla="*/ 1852316276 w 913"/>
              <a:gd name="T75" fmla="*/ 79859906 h 815"/>
              <a:gd name="T76" fmla="*/ 1696066535 w 913"/>
              <a:gd name="T77" fmla="*/ 41217188 h 815"/>
              <a:gd name="T78" fmla="*/ 1527215214 w 913"/>
              <a:gd name="T79" fmla="*/ 15456445 h 815"/>
              <a:gd name="T80" fmla="*/ 1345763902 w 913"/>
              <a:gd name="T81" fmla="*/ 2576074 h 815"/>
              <a:gd name="T82" fmla="*/ 1156752912 w 913"/>
              <a:gd name="T83" fmla="*/ 2576074 h 815"/>
              <a:gd name="T84" fmla="*/ 967740334 w 913"/>
              <a:gd name="T85" fmla="*/ 15456445 h 815"/>
              <a:gd name="T86" fmla="*/ 788809972 w 913"/>
              <a:gd name="T87" fmla="*/ 46370941 h 815"/>
              <a:gd name="T88" fmla="*/ 619958651 w 913"/>
              <a:gd name="T89" fmla="*/ 90164203 h 815"/>
              <a:gd name="T90" fmla="*/ 463708910 w 913"/>
              <a:gd name="T91" fmla="*/ 144263367 h 815"/>
              <a:gd name="T92" fmla="*/ 325101062 w 913"/>
              <a:gd name="T93" fmla="*/ 203513074 h 815"/>
              <a:gd name="T94" fmla="*/ 201612570 w 913"/>
              <a:gd name="T95" fmla="*/ 265340461 h 815"/>
              <a:gd name="T96" fmla="*/ 100806285 w 913"/>
              <a:gd name="T97" fmla="*/ 322015699 h 815"/>
              <a:gd name="T98" fmla="*/ 32762836 w 913"/>
              <a:gd name="T99" fmla="*/ 360656813 h 815"/>
              <a:gd name="T100" fmla="*/ 2520951 w 913"/>
              <a:gd name="T101" fmla="*/ 378690937 h 815"/>
              <a:gd name="T102" fmla="*/ 5040314 w 913"/>
              <a:gd name="T103" fmla="*/ 383843086 h 815"/>
              <a:gd name="T104" fmla="*/ 42843465 w 913"/>
              <a:gd name="T105" fmla="*/ 412179902 h 815"/>
              <a:gd name="T106" fmla="*/ 113407864 w 913"/>
              <a:gd name="T107" fmla="*/ 463702992 h 81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3" h="815">
                <a:moveTo>
                  <a:pt x="69" y="197"/>
                </a:moveTo>
                <a:lnTo>
                  <a:pt x="77" y="203"/>
                </a:lnTo>
                <a:lnTo>
                  <a:pt x="86" y="210"/>
                </a:lnTo>
                <a:lnTo>
                  <a:pt x="95" y="217"/>
                </a:lnTo>
                <a:lnTo>
                  <a:pt x="104" y="225"/>
                </a:lnTo>
                <a:lnTo>
                  <a:pt x="113" y="233"/>
                </a:lnTo>
                <a:lnTo>
                  <a:pt x="122" y="241"/>
                </a:lnTo>
                <a:lnTo>
                  <a:pt x="131" y="250"/>
                </a:lnTo>
                <a:lnTo>
                  <a:pt x="140" y="259"/>
                </a:lnTo>
                <a:lnTo>
                  <a:pt x="150" y="269"/>
                </a:lnTo>
                <a:lnTo>
                  <a:pt x="159" y="279"/>
                </a:lnTo>
                <a:lnTo>
                  <a:pt x="169" y="289"/>
                </a:lnTo>
                <a:lnTo>
                  <a:pt x="178" y="300"/>
                </a:lnTo>
                <a:lnTo>
                  <a:pt x="188" y="311"/>
                </a:lnTo>
                <a:lnTo>
                  <a:pt x="198" y="323"/>
                </a:lnTo>
                <a:lnTo>
                  <a:pt x="208" y="335"/>
                </a:lnTo>
                <a:lnTo>
                  <a:pt x="218" y="347"/>
                </a:lnTo>
                <a:lnTo>
                  <a:pt x="227" y="360"/>
                </a:lnTo>
                <a:lnTo>
                  <a:pt x="237" y="372"/>
                </a:lnTo>
                <a:lnTo>
                  <a:pt x="246" y="385"/>
                </a:lnTo>
                <a:lnTo>
                  <a:pt x="255" y="397"/>
                </a:lnTo>
                <a:lnTo>
                  <a:pt x="264" y="410"/>
                </a:lnTo>
                <a:lnTo>
                  <a:pt x="272" y="422"/>
                </a:lnTo>
                <a:lnTo>
                  <a:pt x="280" y="435"/>
                </a:lnTo>
                <a:lnTo>
                  <a:pt x="288" y="447"/>
                </a:lnTo>
                <a:lnTo>
                  <a:pt x="295" y="460"/>
                </a:lnTo>
                <a:lnTo>
                  <a:pt x="302" y="472"/>
                </a:lnTo>
                <a:lnTo>
                  <a:pt x="309" y="484"/>
                </a:lnTo>
                <a:lnTo>
                  <a:pt x="316" y="497"/>
                </a:lnTo>
                <a:lnTo>
                  <a:pt x="322" y="509"/>
                </a:lnTo>
                <a:lnTo>
                  <a:pt x="328" y="521"/>
                </a:lnTo>
                <a:lnTo>
                  <a:pt x="334" y="533"/>
                </a:lnTo>
                <a:lnTo>
                  <a:pt x="339" y="546"/>
                </a:lnTo>
                <a:lnTo>
                  <a:pt x="344" y="558"/>
                </a:lnTo>
                <a:lnTo>
                  <a:pt x="349" y="570"/>
                </a:lnTo>
                <a:lnTo>
                  <a:pt x="354" y="582"/>
                </a:lnTo>
                <a:lnTo>
                  <a:pt x="358" y="593"/>
                </a:lnTo>
                <a:lnTo>
                  <a:pt x="363" y="605"/>
                </a:lnTo>
                <a:lnTo>
                  <a:pt x="367" y="617"/>
                </a:lnTo>
                <a:lnTo>
                  <a:pt x="370" y="628"/>
                </a:lnTo>
                <a:lnTo>
                  <a:pt x="374" y="640"/>
                </a:lnTo>
                <a:lnTo>
                  <a:pt x="377" y="651"/>
                </a:lnTo>
                <a:lnTo>
                  <a:pt x="380" y="663"/>
                </a:lnTo>
                <a:lnTo>
                  <a:pt x="383" y="674"/>
                </a:lnTo>
                <a:lnTo>
                  <a:pt x="386" y="685"/>
                </a:lnTo>
                <a:lnTo>
                  <a:pt x="388" y="696"/>
                </a:lnTo>
                <a:lnTo>
                  <a:pt x="391" y="707"/>
                </a:lnTo>
                <a:lnTo>
                  <a:pt x="393" y="718"/>
                </a:lnTo>
                <a:lnTo>
                  <a:pt x="394" y="728"/>
                </a:lnTo>
                <a:lnTo>
                  <a:pt x="396" y="739"/>
                </a:lnTo>
                <a:lnTo>
                  <a:pt x="398" y="748"/>
                </a:lnTo>
                <a:lnTo>
                  <a:pt x="399" y="757"/>
                </a:lnTo>
                <a:lnTo>
                  <a:pt x="400" y="766"/>
                </a:lnTo>
                <a:lnTo>
                  <a:pt x="402" y="773"/>
                </a:lnTo>
                <a:lnTo>
                  <a:pt x="403" y="781"/>
                </a:lnTo>
                <a:lnTo>
                  <a:pt x="404" y="787"/>
                </a:lnTo>
                <a:lnTo>
                  <a:pt x="404" y="793"/>
                </a:lnTo>
                <a:lnTo>
                  <a:pt x="405" y="798"/>
                </a:lnTo>
                <a:lnTo>
                  <a:pt x="406" y="802"/>
                </a:lnTo>
                <a:lnTo>
                  <a:pt x="407" y="806"/>
                </a:lnTo>
                <a:lnTo>
                  <a:pt x="407" y="809"/>
                </a:lnTo>
                <a:lnTo>
                  <a:pt x="407" y="811"/>
                </a:lnTo>
                <a:lnTo>
                  <a:pt x="408" y="813"/>
                </a:lnTo>
                <a:lnTo>
                  <a:pt x="408" y="814"/>
                </a:lnTo>
                <a:lnTo>
                  <a:pt x="409" y="813"/>
                </a:lnTo>
                <a:lnTo>
                  <a:pt x="410" y="813"/>
                </a:lnTo>
                <a:lnTo>
                  <a:pt x="412" y="812"/>
                </a:lnTo>
                <a:lnTo>
                  <a:pt x="414" y="810"/>
                </a:lnTo>
                <a:lnTo>
                  <a:pt x="417" y="809"/>
                </a:lnTo>
                <a:lnTo>
                  <a:pt x="421" y="807"/>
                </a:lnTo>
                <a:lnTo>
                  <a:pt x="425" y="805"/>
                </a:lnTo>
                <a:lnTo>
                  <a:pt x="429" y="802"/>
                </a:lnTo>
                <a:lnTo>
                  <a:pt x="434" y="799"/>
                </a:lnTo>
                <a:lnTo>
                  <a:pt x="440" y="796"/>
                </a:lnTo>
                <a:lnTo>
                  <a:pt x="446" y="793"/>
                </a:lnTo>
                <a:lnTo>
                  <a:pt x="452" y="789"/>
                </a:lnTo>
                <a:lnTo>
                  <a:pt x="459" y="786"/>
                </a:lnTo>
                <a:lnTo>
                  <a:pt x="467" y="781"/>
                </a:lnTo>
                <a:lnTo>
                  <a:pt x="475" y="777"/>
                </a:lnTo>
                <a:lnTo>
                  <a:pt x="484" y="772"/>
                </a:lnTo>
                <a:lnTo>
                  <a:pt x="492" y="767"/>
                </a:lnTo>
                <a:lnTo>
                  <a:pt x="501" y="761"/>
                </a:lnTo>
                <a:lnTo>
                  <a:pt x="510" y="756"/>
                </a:lnTo>
                <a:lnTo>
                  <a:pt x="519" y="749"/>
                </a:lnTo>
                <a:lnTo>
                  <a:pt x="529" y="743"/>
                </a:lnTo>
                <a:lnTo>
                  <a:pt x="538" y="736"/>
                </a:lnTo>
                <a:lnTo>
                  <a:pt x="548" y="729"/>
                </a:lnTo>
                <a:lnTo>
                  <a:pt x="557" y="721"/>
                </a:lnTo>
                <a:lnTo>
                  <a:pt x="567" y="713"/>
                </a:lnTo>
                <a:lnTo>
                  <a:pt x="578" y="705"/>
                </a:lnTo>
                <a:lnTo>
                  <a:pt x="588" y="696"/>
                </a:lnTo>
                <a:lnTo>
                  <a:pt x="598" y="687"/>
                </a:lnTo>
                <a:lnTo>
                  <a:pt x="609" y="678"/>
                </a:lnTo>
                <a:lnTo>
                  <a:pt x="620" y="668"/>
                </a:lnTo>
                <a:lnTo>
                  <a:pt x="630" y="658"/>
                </a:lnTo>
                <a:lnTo>
                  <a:pt x="641" y="648"/>
                </a:lnTo>
                <a:lnTo>
                  <a:pt x="652" y="637"/>
                </a:lnTo>
                <a:lnTo>
                  <a:pt x="663" y="627"/>
                </a:lnTo>
                <a:lnTo>
                  <a:pt x="673" y="616"/>
                </a:lnTo>
                <a:lnTo>
                  <a:pt x="683" y="605"/>
                </a:lnTo>
                <a:lnTo>
                  <a:pt x="693" y="594"/>
                </a:lnTo>
                <a:lnTo>
                  <a:pt x="703" y="582"/>
                </a:lnTo>
                <a:lnTo>
                  <a:pt x="712" y="571"/>
                </a:lnTo>
                <a:lnTo>
                  <a:pt x="722" y="559"/>
                </a:lnTo>
                <a:lnTo>
                  <a:pt x="731" y="547"/>
                </a:lnTo>
                <a:lnTo>
                  <a:pt x="740" y="535"/>
                </a:lnTo>
                <a:lnTo>
                  <a:pt x="749" y="522"/>
                </a:lnTo>
                <a:lnTo>
                  <a:pt x="757" y="510"/>
                </a:lnTo>
                <a:lnTo>
                  <a:pt x="766" y="497"/>
                </a:lnTo>
                <a:lnTo>
                  <a:pt x="774" y="484"/>
                </a:lnTo>
                <a:lnTo>
                  <a:pt x="782" y="471"/>
                </a:lnTo>
                <a:lnTo>
                  <a:pt x="790" y="458"/>
                </a:lnTo>
                <a:lnTo>
                  <a:pt x="797" y="445"/>
                </a:lnTo>
                <a:lnTo>
                  <a:pt x="804" y="432"/>
                </a:lnTo>
                <a:lnTo>
                  <a:pt x="811" y="420"/>
                </a:lnTo>
                <a:lnTo>
                  <a:pt x="818" y="407"/>
                </a:lnTo>
                <a:lnTo>
                  <a:pt x="824" y="395"/>
                </a:lnTo>
                <a:lnTo>
                  <a:pt x="830" y="382"/>
                </a:lnTo>
                <a:lnTo>
                  <a:pt x="836" y="370"/>
                </a:lnTo>
                <a:lnTo>
                  <a:pt x="841" y="358"/>
                </a:lnTo>
                <a:lnTo>
                  <a:pt x="846" y="346"/>
                </a:lnTo>
                <a:lnTo>
                  <a:pt x="851" y="334"/>
                </a:lnTo>
                <a:lnTo>
                  <a:pt x="856" y="322"/>
                </a:lnTo>
                <a:lnTo>
                  <a:pt x="860" y="311"/>
                </a:lnTo>
                <a:lnTo>
                  <a:pt x="864" y="299"/>
                </a:lnTo>
                <a:lnTo>
                  <a:pt x="868" y="288"/>
                </a:lnTo>
                <a:lnTo>
                  <a:pt x="871" y="277"/>
                </a:lnTo>
                <a:lnTo>
                  <a:pt x="874" y="266"/>
                </a:lnTo>
                <a:lnTo>
                  <a:pt x="877" y="255"/>
                </a:lnTo>
                <a:lnTo>
                  <a:pt x="880" y="245"/>
                </a:lnTo>
                <a:lnTo>
                  <a:pt x="883" y="235"/>
                </a:lnTo>
                <a:lnTo>
                  <a:pt x="885" y="226"/>
                </a:lnTo>
                <a:lnTo>
                  <a:pt x="887" y="216"/>
                </a:lnTo>
                <a:lnTo>
                  <a:pt x="890" y="208"/>
                </a:lnTo>
                <a:lnTo>
                  <a:pt x="892" y="199"/>
                </a:lnTo>
                <a:lnTo>
                  <a:pt x="894" y="191"/>
                </a:lnTo>
                <a:lnTo>
                  <a:pt x="896" y="183"/>
                </a:lnTo>
                <a:lnTo>
                  <a:pt x="897" y="176"/>
                </a:lnTo>
                <a:lnTo>
                  <a:pt x="899" y="169"/>
                </a:lnTo>
                <a:lnTo>
                  <a:pt x="900" y="162"/>
                </a:lnTo>
                <a:lnTo>
                  <a:pt x="901" y="156"/>
                </a:lnTo>
                <a:lnTo>
                  <a:pt x="903" y="150"/>
                </a:lnTo>
                <a:lnTo>
                  <a:pt x="904" y="144"/>
                </a:lnTo>
                <a:lnTo>
                  <a:pt x="904" y="139"/>
                </a:lnTo>
                <a:lnTo>
                  <a:pt x="905" y="134"/>
                </a:lnTo>
                <a:lnTo>
                  <a:pt x="906" y="129"/>
                </a:lnTo>
                <a:lnTo>
                  <a:pt x="907" y="125"/>
                </a:lnTo>
                <a:lnTo>
                  <a:pt x="907" y="121"/>
                </a:lnTo>
                <a:lnTo>
                  <a:pt x="908" y="117"/>
                </a:lnTo>
                <a:lnTo>
                  <a:pt x="909" y="114"/>
                </a:lnTo>
                <a:lnTo>
                  <a:pt x="909" y="111"/>
                </a:lnTo>
                <a:lnTo>
                  <a:pt x="910" y="109"/>
                </a:lnTo>
                <a:lnTo>
                  <a:pt x="910" y="106"/>
                </a:lnTo>
                <a:lnTo>
                  <a:pt x="910" y="104"/>
                </a:lnTo>
                <a:lnTo>
                  <a:pt x="911" y="103"/>
                </a:lnTo>
                <a:lnTo>
                  <a:pt x="911" y="101"/>
                </a:lnTo>
                <a:lnTo>
                  <a:pt x="911" y="100"/>
                </a:lnTo>
                <a:lnTo>
                  <a:pt x="912" y="100"/>
                </a:lnTo>
                <a:lnTo>
                  <a:pt x="912" y="99"/>
                </a:lnTo>
                <a:lnTo>
                  <a:pt x="911" y="99"/>
                </a:lnTo>
                <a:lnTo>
                  <a:pt x="910" y="98"/>
                </a:lnTo>
                <a:lnTo>
                  <a:pt x="909" y="97"/>
                </a:lnTo>
                <a:lnTo>
                  <a:pt x="907" y="96"/>
                </a:lnTo>
                <a:lnTo>
                  <a:pt x="904" y="95"/>
                </a:lnTo>
                <a:lnTo>
                  <a:pt x="902" y="94"/>
                </a:lnTo>
                <a:lnTo>
                  <a:pt x="898" y="92"/>
                </a:lnTo>
                <a:lnTo>
                  <a:pt x="895" y="90"/>
                </a:lnTo>
                <a:lnTo>
                  <a:pt x="891" y="88"/>
                </a:lnTo>
                <a:lnTo>
                  <a:pt x="886" y="86"/>
                </a:lnTo>
                <a:lnTo>
                  <a:pt x="881" y="84"/>
                </a:lnTo>
                <a:lnTo>
                  <a:pt x="875" y="81"/>
                </a:lnTo>
                <a:lnTo>
                  <a:pt x="869" y="78"/>
                </a:lnTo>
                <a:lnTo>
                  <a:pt x="863" y="75"/>
                </a:lnTo>
                <a:lnTo>
                  <a:pt x="856" y="72"/>
                </a:lnTo>
                <a:lnTo>
                  <a:pt x="849" y="69"/>
                </a:lnTo>
                <a:lnTo>
                  <a:pt x="841" y="65"/>
                </a:lnTo>
                <a:lnTo>
                  <a:pt x="833" y="62"/>
                </a:lnTo>
                <a:lnTo>
                  <a:pt x="825" y="59"/>
                </a:lnTo>
                <a:lnTo>
                  <a:pt x="816" y="56"/>
                </a:lnTo>
                <a:lnTo>
                  <a:pt x="807" y="52"/>
                </a:lnTo>
                <a:lnTo>
                  <a:pt x="798" y="49"/>
                </a:lnTo>
                <a:lnTo>
                  <a:pt x="788" y="46"/>
                </a:lnTo>
                <a:lnTo>
                  <a:pt x="778" y="43"/>
                </a:lnTo>
                <a:lnTo>
                  <a:pt x="768" y="40"/>
                </a:lnTo>
                <a:lnTo>
                  <a:pt x="757" y="37"/>
                </a:lnTo>
                <a:lnTo>
                  <a:pt x="746" y="34"/>
                </a:lnTo>
                <a:lnTo>
                  <a:pt x="735" y="31"/>
                </a:lnTo>
                <a:lnTo>
                  <a:pt x="723" y="28"/>
                </a:lnTo>
                <a:lnTo>
                  <a:pt x="711" y="25"/>
                </a:lnTo>
                <a:lnTo>
                  <a:pt x="699" y="22"/>
                </a:lnTo>
                <a:lnTo>
                  <a:pt x="686" y="19"/>
                </a:lnTo>
                <a:lnTo>
                  <a:pt x="673" y="16"/>
                </a:lnTo>
                <a:lnTo>
                  <a:pt x="660" y="14"/>
                </a:lnTo>
                <a:lnTo>
                  <a:pt x="647" y="12"/>
                </a:lnTo>
                <a:lnTo>
                  <a:pt x="633" y="10"/>
                </a:lnTo>
                <a:lnTo>
                  <a:pt x="620" y="8"/>
                </a:lnTo>
                <a:lnTo>
                  <a:pt x="606" y="6"/>
                </a:lnTo>
                <a:lnTo>
                  <a:pt x="592" y="5"/>
                </a:lnTo>
                <a:lnTo>
                  <a:pt x="578" y="4"/>
                </a:lnTo>
                <a:lnTo>
                  <a:pt x="564" y="3"/>
                </a:lnTo>
                <a:lnTo>
                  <a:pt x="549" y="2"/>
                </a:lnTo>
                <a:lnTo>
                  <a:pt x="534" y="1"/>
                </a:lnTo>
                <a:lnTo>
                  <a:pt x="520" y="1"/>
                </a:lnTo>
                <a:lnTo>
                  <a:pt x="505" y="0"/>
                </a:lnTo>
                <a:lnTo>
                  <a:pt x="489" y="0"/>
                </a:lnTo>
                <a:lnTo>
                  <a:pt x="474" y="1"/>
                </a:lnTo>
                <a:lnTo>
                  <a:pt x="459" y="1"/>
                </a:lnTo>
                <a:lnTo>
                  <a:pt x="443" y="2"/>
                </a:lnTo>
                <a:lnTo>
                  <a:pt x="428" y="2"/>
                </a:lnTo>
                <a:lnTo>
                  <a:pt x="413" y="4"/>
                </a:lnTo>
                <a:lnTo>
                  <a:pt x="399" y="5"/>
                </a:lnTo>
                <a:lnTo>
                  <a:pt x="384" y="6"/>
                </a:lnTo>
                <a:lnTo>
                  <a:pt x="370" y="8"/>
                </a:lnTo>
                <a:lnTo>
                  <a:pt x="355" y="10"/>
                </a:lnTo>
                <a:lnTo>
                  <a:pt x="341" y="13"/>
                </a:lnTo>
                <a:lnTo>
                  <a:pt x="327" y="15"/>
                </a:lnTo>
                <a:lnTo>
                  <a:pt x="313" y="18"/>
                </a:lnTo>
                <a:lnTo>
                  <a:pt x="300" y="21"/>
                </a:lnTo>
                <a:lnTo>
                  <a:pt x="286" y="24"/>
                </a:lnTo>
                <a:lnTo>
                  <a:pt x="273" y="28"/>
                </a:lnTo>
                <a:lnTo>
                  <a:pt x="259" y="31"/>
                </a:lnTo>
                <a:lnTo>
                  <a:pt x="246" y="35"/>
                </a:lnTo>
                <a:lnTo>
                  <a:pt x="233" y="39"/>
                </a:lnTo>
                <a:lnTo>
                  <a:pt x="221" y="44"/>
                </a:lnTo>
                <a:lnTo>
                  <a:pt x="208" y="48"/>
                </a:lnTo>
                <a:lnTo>
                  <a:pt x="196" y="52"/>
                </a:lnTo>
                <a:lnTo>
                  <a:pt x="184" y="56"/>
                </a:lnTo>
                <a:lnTo>
                  <a:pt x="173" y="61"/>
                </a:lnTo>
                <a:lnTo>
                  <a:pt x="161" y="65"/>
                </a:lnTo>
                <a:lnTo>
                  <a:pt x="150" y="70"/>
                </a:lnTo>
                <a:lnTo>
                  <a:pt x="139" y="74"/>
                </a:lnTo>
                <a:lnTo>
                  <a:pt x="129" y="79"/>
                </a:lnTo>
                <a:lnTo>
                  <a:pt x="118" y="84"/>
                </a:lnTo>
                <a:lnTo>
                  <a:pt x="108" y="88"/>
                </a:lnTo>
                <a:lnTo>
                  <a:pt x="99" y="93"/>
                </a:lnTo>
                <a:lnTo>
                  <a:pt x="89" y="98"/>
                </a:lnTo>
                <a:lnTo>
                  <a:pt x="80" y="103"/>
                </a:lnTo>
                <a:lnTo>
                  <a:pt x="71" y="108"/>
                </a:lnTo>
                <a:lnTo>
                  <a:pt x="62" y="113"/>
                </a:lnTo>
                <a:lnTo>
                  <a:pt x="54" y="117"/>
                </a:lnTo>
                <a:lnTo>
                  <a:pt x="47" y="121"/>
                </a:lnTo>
                <a:lnTo>
                  <a:pt x="40" y="125"/>
                </a:lnTo>
                <a:lnTo>
                  <a:pt x="33" y="129"/>
                </a:lnTo>
                <a:lnTo>
                  <a:pt x="27" y="132"/>
                </a:lnTo>
                <a:lnTo>
                  <a:pt x="22" y="135"/>
                </a:lnTo>
                <a:lnTo>
                  <a:pt x="17" y="138"/>
                </a:lnTo>
                <a:lnTo>
                  <a:pt x="13" y="140"/>
                </a:lnTo>
                <a:lnTo>
                  <a:pt x="10" y="142"/>
                </a:lnTo>
                <a:lnTo>
                  <a:pt x="7" y="144"/>
                </a:lnTo>
                <a:lnTo>
                  <a:pt x="4" y="145"/>
                </a:lnTo>
                <a:lnTo>
                  <a:pt x="2" y="146"/>
                </a:lnTo>
                <a:lnTo>
                  <a:pt x="1" y="147"/>
                </a:lnTo>
                <a:lnTo>
                  <a:pt x="0" y="148"/>
                </a:lnTo>
                <a:lnTo>
                  <a:pt x="1" y="149"/>
                </a:lnTo>
                <a:lnTo>
                  <a:pt x="2" y="149"/>
                </a:lnTo>
                <a:lnTo>
                  <a:pt x="4" y="151"/>
                </a:lnTo>
                <a:lnTo>
                  <a:pt x="6" y="153"/>
                </a:lnTo>
                <a:lnTo>
                  <a:pt x="9" y="155"/>
                </a:lnTo>
                <a:lnTo>
                  <a:pt x="13" y="157"/>
                </a:lnTo>
                <a:lnTo>
                  <a:pt x="17" y="160"/>
                </a:lnTo>
                <a:lnTo>
                  <a:pt x="21" y="163"/>
                </a:lnTo>
                <a:lnTo>
                  <a:pt x="27" y="167"/>
                </a:lnTo>
                <a:lnTo>
                  <a:pt x="32" y="171"/>
                </a:lnTo>
                <a:lnTo>
                  <a:pt x="38" y="175"/>
                </a:lnTo>
                <a:lnTo>
                  <a:pt x="45" y="180"/>
                </a:lnTo>
                <a:lnTo>
                  <a:pt x="53" y="185"/>
                </a:lnTo>
                <a:lnTo>
                  <a:pt x="60" y="191"/>
                </a:lnTo>
                <a:lnTo>
                  <a:pt x="69" y="197"/>
                </a:lnTo>
                <a:close/>
              </a:path>
            </a:pathLst>
          </a:custGeom>
          <a:solidFill>
            <a:srgbClr val="80808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1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261322" y="3130967"/>
            <a:ext cx="1958927" cy="1333050"/>
          </a:xfrm>
          <a:custGeom>
            <a:avLst/>
            <a:gdLst>
              <a:gd name="T0" fmla="*/ 2040924568 w 911"/>
              <a:gd name="T1" fmla="*/ 556456943 h 814"/>
              <a:gd name="T2" fmla="*/ 1938504703 w 911"/>
              <a:gd name="T3" fmla="*/ 656928358 h 814"/>
              <a:gd name="T4" fmla="*/ 1826091152 w 911"/>
              <a:gd name="T5" fmla="*/ 778010240 h 814"/>
              <a:gd name="T6" fmla="*/ 1708681549 w 911"/>
              <a:gd name="T7" fmla="*/ 922275488 h 814"/>
              <a:gd name="T8" fmla="*/ 1603762867 w 911"/>
              <a:gd name="T9" fmla="*/ 1079424485 h 814"/>
              <a:gd name="T10" fmla="*/ 1508836289 w 911"/>
              <a:gd name="T11" fmla="*/ 1249452416 h 814"/>
              <a:gd name="T12" fmla="*/ 1426399053 w 911"/>
              <a:gd name="T13" fmla="*/ 1429786383 h 814"/>
              <a:gd name="T14" fmla="*/ 1358951555 w 911"/>
              <a:gd name="T15" fmla="*/ 1599814314 h 814"/>
              <a:gd name="T16" fmla="*/ 1313985502 w 911"/>
              <a:gd name="T17" fmla="*/ 1756961705 h 814"/>
              <a:gd name="T18" fmla="*/ 1284009188 w 911"/>
              <a:gd name="T19" fmla="*/ 1898652450 h 814"/>
              <a:gd name="T20" fmla="*/ 1266522214 w 911"/>
              <a:gd name="T21" fmla="*/ 2006852189 h 814"/>
              <a:gd name="T22" fmla="*/ 1254032873 w 911"/>
              <a:gd name="T23" fmla="*/ 2073834202 h 814"/>
              <a:gd name="T24" fmla="*/ 1251534056 w 911"/>
              <a:gd name="T25" fmla="*/ 2094443064 h 814"/>
              <a:gd name="T26" fmla="*/ 1234047083 w 911"/>
              <a:gd name="T27" fmla="*/ 2084138633 h 814"/>
              <a:gd name="T28" fmla="*/ 1184086558 w 911"/>
              <a:gd name="T29" fmla="*/ 2055799842 h 814"/>
              <a:gd name="T30" fmla="*/ 1104148138 w 911"/>
              <a:gd name="T31" fmla="*/ 2009428296 h 814"/>
              <a:gd name="T32" fmla="*/ 996730640 w 911"/>
              <a:gd name="T33" fmla="*/ 1945023996 h 814"/>
              <a:gd name="T34" fmla="*/ 881819853 w 911"/>
              <a:gd name="T35" fmla="*/ 1857433120 h 814"/>
              <a:gd name="T36" fmla="*/ 754418145 w 911"/>
              <a:gd name="T37" fmla="*/ 1749233382 h 814"/>
              <a:gd name="T38" fmla="*/ 622020384 w 911"/>
              <a:gd name="T39" fmla="*/ 1620423176 h 814"/>
              <a:gd name="T40" fmla="*/ 499614728 w 911"/>
              <a:gd name="T41" fmla="*/ 1478734036 h 814"/>
              <a:gd name="T42" fmla="*/ 389699994 w 911"/>
              <a:gd name="T43" fmla="*/ 1324162752 h 814"/>
              <a:gd name="T44" fmla="*/ 294771836 w 911"/>
              <a:gd name="T45" fmla="*/ 1159285432 h 814"/>
              <a:gd name="T46" fmla="*/ 212336180 w 911"/>
              <a:gd name="T47" fmla="*/ 996985825 h 814"/>
              <a:gd name="T48" fmla="*/ 147385918 w 911"/>
              <a:gd name="T49" fmla="*/ 839838433 h 814"/>
              <a:gd name="T50" fmla="*/ 94926577 w 911"/>
              <a:gd name="T51" fmla="*/ 687843257 h 814"/>
              <a:gd name="T52" fmla="*/ 57455393 w 911"/>
              <a:gd name="T53" fmla="*/ 553880835 h 814"/>
              <a:gd name="T54" fmla="*/ 29976315 w 911"/>
              <a:gd name="T55" fmla="*/ 445681097 h 814"/>
              <a:gd name="T56" fmla="*/ 17486974 w 911"/>
              <a:gd name="T57" fmla="*/ 360666329 h 814"/>
              <a:gd name="T58" fmla="*/ 7494869 w 911"/>
              <a:gd name="T59" fmla="*/ 298838137 h 814"/>
              <a:gd name="T60" fmla="*/ 2498816 w 911"/>
              <a:gd name="T61" fmla="*/ 262771022 h 814"/>
              <a:gd name="T62" fmla="*/ 0 w 911"/>
              <a:gd name="T63" fmla="*/ 247314375 h 814"/>
              <a:gd name="T64" fmla="*/ 7494869 w 911"/>
              <a:gd name="T65" fmla="*/ 242162160 h 814"/>
              <a:gd name="T66" fmla="*/ 42467236 w 911"/>
              <a:gd name="T67" fmla="*/ 224127800 h 814"/>
              <a:gd name="T68" fmla="*/ 107417498 w 911"/>
              <a:gd name="T69" fmla="*/ 195790614 h 814"/>
              <a:gd name="T70" fmla="*/ 197348023 w 911"/>
              <a:gd name="T71" fmla="*/ 157147392 h 814"/>
              <a:gd name="T72" fmla="*/ 309761574 w 911"/>
              <a:gd name="T73" fmla="*/ 118504170 h 814"/>
              <a:gd name="T74" fmla="*/ 444656571 w 911"/>
              <a:gd name="T75" fmla="*/ 79862552 h 814"/>
              <a:gd name="T76" fmla="*/ 602036174 w 911"/>
              <a:gd name="T77" fmla="*/ 41219330 h 814"/>
              <a:gd name="T78" fmla="*/ 769406302 w 911"/>
              <a:gd name="T79" fmla="*/ 15456647 h 814"/>
              <a:gd name="T80" fmla="*/ 946770115 w 911"/>
              <a:gd name="T81" fmla="*/ 2576108 h 814"/>
              <a:gd name="T82" fmla="*/ 1136623270 w 911"/>
              <a:gd name="T83" fmla="*/ 2576108 h 814"/>
              <a:gd name="T84" fmla="*/ 1321480371 w 911"/>
              <a:gd name="T85" fmla="*/ 15456647 h 814"/>
              <a:gd name="T86" fmla="*/ 1498842604 w 911"/>
              <a:gd name="T87" fmla="*/ 46371546 h 814"/>
              <a:gd name="T88" fmla="*/ 1666214312 w 911"/>
              <a:gd name="T89" fmla="*/ 90166984 h 814"/>
              <a:gd name="T90" fmla="*/ 1818596283 w 911"/>
              <a:gd name="T91" fmla="*/ 144266853 h 814"/>
              <a:gd name="T92" fmla="*/ 1955990096 w 911"/>
              <a:gd name="T93" fmla="*/ 203518937 h 814"/>
              <a:gd name="T94" fmla="*/ 2075898516 w 911"/>
              <a:gd name="T95" fmla="*/ 265347130 h 814"/>
              <a:gd name="T96" fmla="*/ 2147483646 w 911"/>
              <a:gd name="T97" fmla="*/ 322023107 h 814"/>
              <a:gd name="T98" fmla="*/ 2147483646 w 911"/>
              <a:gd name="T99" fmla="*/ 360666329 h 814"/>
              <a:gd name="T100" fmla="*/ 2147483646 w 911"/>
              <a:gd name="T101" fmla="*/ 378700689 h 814"/>
              <a:gd name="T102" fmla="*/ 2147483646 w 911"/>
              <a:gd name="T103" fmla="*/ 383852905 h 814"/>
              <a:gd name="T104" fmla="*/ 2147483646 w 911"/>
              <a:gd name="T105" fmla="*/ 407037875 h 814"/>
              <a:gd name="T106" fmla="*/ 2147483646 w 911"/>
              <a:gd name="T107" fmla="*/ 453409421 h 81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1" h="814">
                <a:moveTo>
                  <a:pt x="849" y="191"/>
                </a:moveTo>
                <a:lnTo>
                  <a:pt x="841" y="197"/>
                </a:lnTo>
                <a:lnTo>
                  <a:pt x="833" y="203"/>
                </a:lnTo>
                <a:lnTo>
                  <a:pt x="825" y="209"/>
                </a:lnTo>
                <a:lnTo>
                  <a:pt x="817" y="216"/>
                </a:lnTo>
                <a:lnTo>
                  <a:pt x="809" y="223"/>
                </a:lnTo>
                <a:lnTo>
                  <a:pt x="801" y="230"/>
                </a:lnTo>
                <a:lnTo>
                  <a:pt x="793" y="238"/>
                </a:lnTo>
                <a:lnTo>
                  <a:pt x="784" y="246"/>
                </a:lnTo>
                <a:lnTo>
                  <a:pt x="776" y="255"/>
                </a:lnTo>
                <a:lnTo>
                  <a:pt x="767" y="263"/>
                </a:lnTo>
                <a:lnTo>
                  <a:pt x="758" y="273"/>
                </a:lnTo>
                <a:lnTo>
                  <a:pt x="749" y="282"/>
                </a:lnTo>
                <a:lnTo>
                  <a:pt x="740" y="292"/>
                </a:lnTo>
                <a:lnTo>
                  <a:pt x="731" y="302"/>
                </a:lnTo>
                <a:lnTo>
                  <a:pt x="721" y="313"/>
                </a:lnTo>
                <a:lnTo>
                  <a:pt x="712" y="324"/>
                </a:lnTo>
                <a:lnTo>
                  <a:pt x="703" y="335"/>
                </a:lnTo>
                <a:lnTo>
                  <a:pt x="693" y="346"/>
                </a:lnTo>
                <a:lnTo>
                  <a:pt x="684" y="358"/>
                </a:lnTo>
                <a:lnTo>
                  <a:pt x="675" y="370"/>
                </a:lnTo>
                <a:lnTo>
                  <a:pt x="667" y="382"/>
                </a:lnTo>
                <a:lnTo>
                  <a:pt x="658" y="394"/>
                </a:lnTo>
                <a:lnTo>
                  <a:pt x="650" y="407"/>
                </a:lnTo>
                <a:lnTo>
                  <a:pt x="642" y="419"/>
                </a:lnTo>
                <a:lnTo>
                  <a:pt x="634" y="432"/>
                </a:lnTo>
                <a:lnTo>
                  <a:pt x="626" y="445"/>
                </a:lnTo>
                <a:lnTo>
                  <a:pt x="618" y="458"/>
                </a:lnTo>
                <a:lnTo>
                  <a:pt x="611" y="471"/>
                </a:lnTo>
                <a:lnTo>
                  <a:pt x="604" y="485"/>
                </a:lnTo>
                <a:lnTo>
                  <a:pt x="597" y="499"/>
                </a:lnTo>
                <a:lnTo>
                  <a:pt x="590" y="513"/>
                </a:lnTo>
                <a:lnTo>
                  <a:pt x="583" y="527"/>
                </a:lnTo>
                <a:lnTo>
                  <a:pt x="577" y="541"/>
                </a:lnTo>
                <a:lnTo>
                  <a:pt x="571" y="555"/>
                </a:lnTo>
                <a:lnTo>
                  <a:pt x="565" y="569"/>
                </a:lnTo>
                <a:lnTo>
                  <a:pt x="559" y="582"/>
                </a:lnTo>
                <a:lnTo>
                  <a:pt x="554" y="595"/>
                </a:lnTo>
                <a:lnTo>
                  <a:pt x="549" y="609"/>
                </a:lnTo>
                <a:lnTo>
                  <a:pt x="544" y="621"/>
                </a:lnTo>
                <a:lnTo>
                  <a:pt x="540" y="634"/>
                </a:lnTo>
                <a:lnTo>
                  <a:pt x="536" y="646"/>
                </a:lnTo>
                <a:lnTo>
                  <a:pt x="532" y="659"/>
                </a:lnTo>
                <a:lnTo>
                  <a:pt x="529" y="671"/>
                </a:lnTo>
                <a:lnTo>
                  <a:pt x="526" y="682"/>
                </a:lnTo>
                <a:lnTo>
                  <a:pt x="523" y="694"/>
                </a:lnTo>
                <a:lnTo>
                  <a:pt x="520" y="705"/>
                </a:lnTo>
                <a:lnTo>
                  <a:pt x="518" y="716"/>
                </a:lnTo>
                <a:lnTo>
                  <a:pt x="516" y="727"/>
                </a:lnTo>
                <a:lnTo>
                  <a:pt x="514" y="737"/>
                </a:lnTo>
                <a:lnTo>
                  <a:pt x="512" y="747"/>
                </a:lnTo>
                <a:lnTo>
                  <a:pt x="511" y="756"/>
                </a:lnTo>
                <a:lnTo>
                  <a:pt x="510" y="765"/>
                </a:lnTo>
                <a:lnTo>
                  <a:pt x="508" y="772"/>
                </a:lnTo>
                <a:lnTo>
                  <a:pt x="507" y="779"/>
                </a:lnTo>
                <a:lnTo>
                  <a:pt x="506" y="786"/>
                </a:lnTo>
                <a:lnTo>
                  <a:pt x="505" y="791"/>
                </a:lnTo>
                <a:lnTo>
                  <a:pt x="504" y="797"/>
                </a:lnTo>
                <a:lnTo>
                  <a:pt x="503" y="801"/>
                </a:lnTo>
                <a:lnTo>
                  <a:pt x="502" y="805"/>
                </a:lnTo>
                <a:lnTo>
                  <a:pt x="502" y="808"/>
                </a:lnTo>
                <a:lnTo>
                  <a:pt x="501" y="810"/>
                </a:lnTo>
                <a:lnTo>
                  <a:pt x="501" y="812"/>
                </a:lnTo>
                <a:lnTo>
                  <a:pt x="501" y="813"/>
                </a:lnTo>
                <a:lnTo>
                  <a:pt x="500" y="813"/>
                </a:lnTo>
                <a:lnTo>
                  <a:pt x="499" y="812"/>
                </a:lnTo>
                <a:lnTo>
                  <a:pt x="498" y="812"/>
                </a:lnTo>
                <a:lnTo>
                  <a:pt x="496" y="811"/>
                </a:lnTo>
                <a:lnTo>
                  <a:pt x="494" y="809"/>
                </a:lnTo>
                <a:lnTo>
                  <a:pt x="491" y="808"/>
                </a:lnTo>
                <a:lnTo>
                  <a:pt x="487" y="806"/>
                </a:lnTo>
                <a:lnTo>
                  <a:pt x="483" y="804"/>
                </a:lnTo>
                <a:lnTo>
                  <a:pt x="479" y="801"/>
                </a:lnTo>
                <a:lnTo>
                  <a:pt x="474" y="798"/>
                </a:lnTo>
                <a:lnTo>
                  <a:pt x="469" y="795"/>
                </a:lnTo>
                <a:lnTo>
                  <a:pt x="463" y="792"/>
                </a:lnTo>
                <a:lnTo>
                  <a:pt x="456" y="788"/>
                </a:lnTo>
                <a:lnTo>
                  <a:pt x="449" y="785"/>
                </a:lnTo>
                <a:lnTo>
                  <a:pt x="442" y="780"/>
                </a:lnTo>
                <a:lnTo>
                  <a:pt x="434" y="776"/>
                </a:lnTo>
                <a:lnTo>
                  <a:pt x="425" y="771"/>
                </a:lnTo>
                <a:lnTo>
                  <a:pt x="417" y="766"/>
                </a:lnTo>
                <a:lnTo>
                  <a:pt x="408" y="760"/>
                </a:lnTo>
                <a:lnTo>
                  <a:pt x="399" y="755"/>
                </a:lnTo>
                <a:lnTo>
                  <a:pt x="390" y="749"/>
                </a:lnTo>
                <a:lnTo>
                  <a:pt x="381" y="742"/>
                </a:lnTo>
                <a:lnTo>
                  <a:pt x="372" y="735"/>
                </a:lnTo>
                <a:lnTo>
                  <a:pt x="362" y="728"/>
                </a:lnTo>
                <a:lnTo>
                  <a:pt x="353" y="721"/>
                </a:lnTo>
                <a:lnTo>
                  <a:pt x="343" y="713"/>
                </a:lnTo>
                <a:lnTo>
                  <a:pt x="333" y="705"/>
                </a:lnTo>
                <a:lnTo>
                  <a:pt x="323" y="696"/>
                </a:lnTo>
                <a:lnTo>
                  <a:pt x="312" y="688"/>
                </a:lnTo>
                <a:lnTo>
                  <a:pt x="302" y="679"/>
                </a:lnTo>
                <a:lnTo>
                  <a:pt x="291" y="669"/>
                </a:lnTo>
                <a:lnTo>
                  <a:pt x="280" y="659"/>
                </a:lnTo>
                <a:lnTo>
                  <a:pt x="270" y="649"/>
                </a:lnTo>
                <a:lnTo>
                  <a:pt x="259" y="639"/>
                </a:lnTo>
                <a:lnTo>
                  <a:pt x="249" y="629"/>
                </a:lnTo>
                <a:lnTo>
                  <a:pt x="239" y="618"/>
                </a:lnTo>
                <a:lnTo>
                  <a:pt x="229" y="607"/>
                </a:lnTo>
                <a:lnTo>
                  <a:pt x="219" y="596"/>
                </a:lnTo>
                <a:lnTo>
                  <a:pt x="209" y="585"/>
                </a:lnTo>
                <a:lnTo>
                  <a:pt x="200" y="574"/>
                </a:lnTo>
                <a:lnTo>
                  <a:pt x="191" y="562"/>
                </a:lnTo>
                <a:lnTo>
                  <a:pt x="182" y="551"/>
                </a:lnTo>
                <a:lnTo>
                  <a:pt x="173" y="539"/>
                </a:lnTo>
                <a:lnTo>
                  <a:pt x="164" y="526"/>
                </a:lnTo>
                <a:lnTo>
                  <a:pt x="156" y="514"/>
                </a:lnTo>
                <a:lnTo>
                  <a:pt x="148" y="502"/>
                </a:lnTo>
                <a:lnTo>
                  <a:pt x="140" y="489"/>
                </a:lnTo>
                <a:lnTo>
                  <a:pt x="132" y="476"/>
                </a:lnTo>
                <a:lnTo>
                  <a:pt x="125" y="463"/>
                </a:lnTo>
                <a:lnTo>
                  <a:pt x="118" y="450"/>
                </a:lnTo>
                <a:lnTo>
                  <a:pt x="111" y="437"/>
                </a:lnTo>
                <a:lnTo>
                  <a:pt x="104" y="424"/>
                </a:lnTo>
                <a:lnTo>
                  <a:pt x="97" y="412"/>
                </a:lnTo>
                <a:lnTo>
                  <a:pt x="91" y="399"/>
                </a:lnTo>
                <a:lnTo>
                  <a:pt x="85" y="387"/>
                </a:lnTo>
                <a:lnTo>
                  <a:pt x="79" y="374"/>
                </a:lnTo>
                <a:lnTo>
                  <a:pt x="74" y="362"/>
                </a:lnTo>
                <a:lnTo>
                  <a:pt x="68" y="350"/>
                </a:lnTo>
                <a:lnTo>
                  <a:pt x="63" y="338"/>
                </a:lnTo>
                <a:lnTo>
                  <a:pt x="59" y="326"/>
                </a:lnTo>
                <a:lnTo>
                  <a:pt x="54" y="314"/>
                </a:lnTo>
                <a:lnTo>
                  <a:pt x="50" y="302"/>
                </a:lnTo>
                <a:lnTo>
                  <a:pt x="46" y="290"/>
                </a:lnTo>
                <a:lnTo>
                  <a:pt x="42" y="278"/>
                </a:lnTo>
                <a:lnTo>
                  <a:pt x="38" y="267"/>
                </a:lnTo>
                <a:lnTo>
                  <a:pt x="35" y="255"/>
                </a:lnTo>
                <a:lnTo>
                  <a:pt x="32" y="245"/>
                </a:lnTo>
                <a:lnTo>
                  <a:pt x="28" y="234"/>
                </a:lnTo>
                <a:lnTo>
                  <a:pt x="26" y="224"/>
                </a:lnTo>
                <a:lnTo>
                  <a:pt x="23" y="215"/>
                </a:lnTo>
                <a:lnTo>
                  <a:pt x="20" y="206"/>
                </a:lnTo>
                <a:lnTo>
                  <a:pt x="18" y="197"/>
                </a:lnTo>
                <a:lnTo>
                  <a:pt x="16" y="188"/>
                </a:lnTo>
                <a:lnTo>
                  <a:pt x="14" y="180"/>
                </a:lnTo>
                <a:lnTo>
                  <a:pt x="12" y="173"/>
                </a:lnTo>
                <a:lnTo>
                  <a:pt x="11" y="165"/>
                </a:lnTo>
                <a:lnTo>
                  <a:pt x="9" y="158"/>
                </a:lnTo>
                <a:lnTo>
                  <a:pt x="8" y="152"/>
                </a:lnTo>
                <a:lnTo>
                  <a:pt x="7" y="146"/>
                </a:lnTo>
                <a:lnTo>
                  <a:pt x="7" y="140"/>
                </a:lnTo>
                <a:lnTo>
                  <a:pt x="6" y="135"/>
                </a:lnTo>
                <a:lnTo>
                  <a:pt x="5" y="130"/>
                </a:lnTo>
                <a:lnTo>
                  <a:pt x="5" y="125"/>
                </a:lnTo>
                <a:lnTo>
                  <a:pt x="4" y="120"/>
                </a:lnTo>
                <a:lnTo>
                  <a:pt x="3" y="116"/>
                </a:lnTo>
                <a:lnTo>
                  <a:pt x="3" y="113"/>
                </a:lnTo>
                <a:lnTo>
                  <a:pt x="2" y="110"/>
                </a:lnTo>
                <a:lnTo>
                  <a:pt x="2" y="107"/>
                </a:lnTo>
                <a:lnTo>
                  <a:pt x="2" y="104"/>
                </a:lnTo>
                <a:lnTo>
                  <a:pt x="1" y="102"/>
                </a:lnTo>
                <a:lnTo>
                  <a:pt x="1" y="100"/>
                </a:lnTo>
                <a:lnTo>
                  <a:pt x="1" y="98"/>
                </a:lnTo>
                <a:lnTo>
                  <a:pt x="0" y="97"/>
                </a:lnTo>
                <a:lnTo>
                  <a:pt x="0" y="96"/>
                </a:lnTo>
                <a:lnTo>
                  <a:pt x="0" y="95"/>
                </a:lnTo>
                <a:lnTo>
                  <a:pt x="1" y="95"/>
                </a:lnTo>
                <a:lnTo>
                  <a:pt x="2" y="94"/>
                </a:lnTo>
                <a:lnTo>
                  <a:pt x="3" y="94"/>
                </a:lnTo>
                <a:lnTo>
                  <a:pt x="5" y="93"/>
                </a:lnTo>
                <a:lnTo>
                  <a:pt x="7" y="92"/>
                </a:lnTo>
                <a:lnTo>
                  <a:pt x="10" y="91"/>
                </a:lnTo>
                <a:lnTo>
                  <a:pt x="14" y="89"/>
                </a:lnTo>
                <a:lnTo>
                  <a:pt x="17" y="87"/>
                </a:lnTo>
                <a:lnTo>
                  <a:pt x="22" y="86"/>
                </a:lnTo>
                <a:lnTo>
                  <a:pt x="26" y="83"/>
                </a:lnTo>
                <a:lnTo>
                  <a:pt x="31" y="81"/>
                </a:lnTo>
                <a:lnTo>
                  <a:pt x="37" y="79"/>
                </a:lnTo>
                <a:lnTo>
                  <a:pt x="43" y="76"/>
                </a:lnTo>
                <a:lnTo>
                  <a:pt x="49" y="73"/>
                </a:lnTo>
                <a:lnTo>
                  <a:pt x="56" y="70"/>
                </a:lnTo>
                <a:lnTo>
                  <a:pt x="64" y="67"/>
                </a:lnTo>
                <a:lnTo>
                  <a:pt x="71" y="64"/>
                </a:lnTo>
                <a:lnTo>
                  <a:pt x="79" y="61"/>
                </a:lnTo>
                <a:lnTo>
                  <a:pt x="88" y="58"/>
                </a:lnTo>
                <a:lnTo>
                  <a:pt x="96" y="55"/>
                </a:lnTo>
                <a:lnTo>
                  <a:pt x="105" y="52"/>
                </a:lnTo>
                <a:lnTo>
                  <a:pt x="115" y="49"/>
                </a:lnTo>
                <a:lnTo>
                  <a:pt x="124" y="46"/>
                </a:lnTo>
                <a:lnTo>
                  <a:pt x="135" y="43"/>
                </a:lnTo>
                <a:lnTo>
                  <a:pt x="145" y="40"/>
                </a:lnTo>
                <a:lnTo>
                  <a:pt x="156" y="37"/>
                </a:lnTo>
                <a:lnTo>
                  <a:pt x="167" y="34"/>
                </a:lnTo>
                <a:lnTo>
                  <a:pt x="178" y="31"/>
                </a:lnTo>
                <a:lnTo>
                  <a:pt x="190" y="28"/>
                </a:lnTo>
                <a:lnTo>
                  <a:pt x="202" y="25"/>
                </a:lnTo>
                <a:lnTo>
                  <a:pt x="215" y="22"/>
                </a:lnTo>
                <a:lnTo>
                  <a:pt x="228" y="19"/>
                </a:lnTo>
                <a:lnTo>
                  <a:pt x="241" y="16"/>
                </a:lnTo>
                <a:lnTo>
                  <a:pt x="254" y="14"/>
                </a:lnTo>
                <a:lnTo>
                  <a:pt x="267" y="12"/>
                </a:lnTo>
                <a:lnTo>
                  <a:pt x="281" y="10"/>
                </a:lnTo>
                <a:lnTo>
                  <a:pt x="294" y="8"/>
                </a:lnTo>
                <a:lnTo>
                  <a:pt x="308" y="6"/>
                </a:lnTo>
                <a:lnTo>
                  <a:pt x="322" y="5"/>
                </a:lnTo>
                <a:lnTo>
                  <a:pt x="336" y="3"/>
                </a:lnTo>
                <a:lnTo>
                  <a:pt x="350" y="2"/>
                </a:lnTo>
                <a:lnTo>
                  <a:pt x="365" y="2"/>
                </a:lnTo>
                <a:lnTo>
                  <a:pt x="379" y="1"/>
                </a:lnTo>
                <a:lnTo>
                  <a:pt x="394" y="1"/>
                </a:lnTo>
                <a:lnTo>
                  <a:pt x="409" y="0"/>
                </a:lnTo>
                <a:lnTo>
                  <a:pt x="424" y="0"/>
                </a:lnTo>
                <a:lnTo>
                  <a:pt x="440" y="0"/>
                </a:lnTo>
                <a:lnTo>
                  <a:pt x="455" y="1"/>
                </a:lnTo>
                <a:lnTo>
                  <a:pt x="470" y="1"/>
                </a:lnTo>
                <a:lnTo>
                  <a:pt x="485" y="2"/>
                </a:lnTo>
                <a:lnTo>
                  <a:pt x="500" y="3"/>
                </a:lnTo>
                <a:lnTo>
                  <a:pt x="514" y="5"/>
                </a:lnTo>
                <a:lnTo>
                  <a:pt x="529" y="6"/>
                </a:lnTo>
                <a:lnTo>
                  <a:pt x="543" y="8"/>
                </a:lnTo>
                <a:lnTo>
                  <a:pt x="558" y="10"/>
                </a:lnTo>
                <a:lnTo>
                  <a:pt x="572" y="13"/>
                </a:lnTo>
                <a:lnTo>
                  <a:pt x="586" y="15"/>
                </a:lnTo>
                <a:lnTo>
                  <a:pt x="600" y="18"/>
                </a:lnTo>
                <a:lnTo>
                  <a:pt x="613" y="21"/>
                </a:lnTo>
                <a:lnTo>
                  <a:pt x="627" y="24"/>
                </a:lnTo>
                <a:lnTo>
                  <a:pt x="640" y="28"/>
                </a:lnTo>
                <a:lnTo>
                  <a:pt x="654" y="31"/>
                </a:lnTo>
                <a:lnTo>
                  <a:pt x="667" y="35"/>
                </a:lnTo>
                <a:lnTo>
                  <a:pt x="680" y="39"/>
                </a:lnTo>
                <a:lnTo>
                  <a:pt x="692" y="44"/>
                </a:lnTo>
                <a:lnTo>
                  <a:pt x="705" y="48"/>
                </a:lnTo>
                <a:lnTo>
                  <a:pt x="717" y="52"/>
                </a:lnTo>
                <a:lnTo>
                  <a:pt x="728" y="56"/>
                </a:lnTo>
                <a:lnTo>
                  <a:pt x="740" y="61"/>
                </a:lnTo>
                <a:lnTo>
                  <a:pt x="751" y="65"/>
                </a:lnTo>
                <a:lnTo>
                  <a:pt x="762" y="70"/>
                </a:lnTo>
                <a:lnTo>
                  <a:pt x="773" y="74"/>
                </a:lnTo>
                <a:lnTo>
                  <a:pt x="783" y="79"/>
                </a:lnTo>
                <a:lnTo>
                  <a:pt x="794" y="84"/>
                </a:lnTo>
                <a:lnTo>
                  <a:pt x="803" y="88"/>
                </a:lnTo>
                <a:lnTo>
                  <a:pt x="813" y="93"/>
                </a:lnTo>
                <a:lnTo>
                  <a:pt x="822" y="98"/>
                </a:lnTo>
                <a:lnTo>
                  <a:pt x="831" y="103"/>
                </a:lnTo>
                <a:lnTo>
                  <a:pt x="840" y="108"/>
                </a:lnTo>
                <a:lnTo>
                  <a:pt x="849" y="112"/>
                </a:lnTo>
                <a:lnTo>
                  <a:pt x="856" y="117"/>
                </a:lnTo>
                <a:lnTo>
                  <a:pt x="864" y="121"/>
                </a:lnTo>
                <a:lnTo>
                  <a:pt x="871" y="125"/>
                </a:lnTo>
                <a:lnTo>
                  <a:pt x="877" y="129"/>
                </a:lnTo>
                <a:lnTo>
                  <a:pt x="882" y="132"/>
                </a:lnTo>
                <a:lnTo>
                  <a:pt x="888" y="135"/>
                </a:lnTo>
                <a:lnTo>
                  <a:pt x="892" y="137"/>
                </a:lnTo>
                <a:lnTo>
                  <a:pt x="896" y="140"/>
                </a:lnTo>
                <a:lnTo>
                  <a:pt x="900" y="142"/>
                </a:lnTo>
                <a:lnTo>
                  <a:pt x="903" y="143"/>
                </a:lnTo>
                <a:lnTo>
                  <a:pt x="905" y="145"/>
                </a:lnTo>
                <a:lnTo>
                  <a:pt x="907" y="146"/>
                </a:lnTo>
                <a:lnTo>
                  <a:pt x="908" y="147"/>
                </a:lnTo>
                <a:lnTo>
                  <a:pt x="909" y="147"/>
                </a:lnTo>
                <a:lnTo>
                  <a:pt x="910" y="147"/>
                </a:lnTo>
                <a:lnTo>
                  <a:pt x="909" y="147"/>
                </a:lnTo>
                <a:lnTo>
                  <a:pt x="909" y="148"/>
                </a:lnTo>
                <a:lnTo>
                  <a:pt x="907" y="149"/>
                </a:lnTo>
                <a:lnTo>
                  <a:pt x="906" y="150"/>
                </a:lnTo>
                <a:lnTo>
                  <a:pt x="904" y="152"/>
                </a:lnTo>
                <a:lnTo>
                  <a:pt x="901" y="153"/>
                </a:lnTo>
                <a:lnTo>
                  <a:pt x="898" y="156"/>
                </a:lnTo>
                <a:lnTo>
                  <a:pt x="894" y="158"/>
                </a:lnTo>
                <a:lnTo>
                  <a:pt x="890" y="161"/>
                </a:lnTo>
                <a:lnTo>
                  <a:pt x="886" y="164"/>
                </a:lnTo>
                <a:lnTo>
                  <a:pt x="881" y="168"/>
                </a:lnTo>
                <a:lnTo>
                  <a:pt x="875" y="172"/>
                </a:lnTo>
                <a:lnTo>
                  <a:pt x="869" y="176"/>
                </a:lnTo>
                <a:lnTo>
                  <a:pt x="863" y="181"/>
                </a:lnTo>
                <a:lnTo>
                  <a:pt x="856" y="186"/>
                </a:lnTo>
                <a:lnTo>
                  <a:pt x="849" y="19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2" name="Freeform 9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5338997" y="3369069"/>
            <a:ext cx="1762387" cy="1256922"/>
          </a:xfrm>
          <a:custGeom>
            <a:avLst/>
            <a:gdLst>
              <a:gd name="T0" fmla="*/ 1270750843 w 815"/>
              <a:gd name="T1" fmla="*/ 181520868 h 765"/>
              <a:gd name="T2" fmla="*/ 1361699049 w 815"/>
              <a:gd name="T3" fmla="*/ 269687870 h 765"/>
              <a:gd name="T4" fmla="*/ 1455174477 w 815"/>
              <a:gd name="T5" fmla="*/ 373413850 h 765"/>
              <a:gd name="T6" fmla="*/ 1553701171 w 815"/>
              <a:gd name="T7" fmla="*/ 492698808 h 765"/>
              <a:gd name="T8" fmla="*/ 1652229453 w 815"/>
              <a:gd name="T9" fmla="*/ 624950116 h 765"/>
              <a:gd name="T10" fmla="*/ 1735599172 w 815"/>
              <a:gd name="T11" fmla="*/ 754607189 h 765"/>
              <a:gd name="T12" fmla="*/ 1808863182 w 815"/>
              <a:gd name="T13" fmla="*/ 881671635 h 765"/>
              <a:gd name="T14" fmla="*/ 1869494259 w 815"/>
              <a:gd name="T15" fmla="*/ 1006143455 h 765"/>
              <a:gd name="T16" fmla="*/ 1920021217 w 815"/>
              <a:gd name="T17" fmla="*/ 1130613665 h 765"/>
              <a:gd name="T18" fmla="*/ 1960444055 w 815"/>
              <a:gd name="T19" fmla="*/ 1249900233 h 765"/>
              <a:gd name="T20" fmla="*/ 1993285227 w 815"/>
              <a:gd name="T21" fmla="*/ 1369185190 h 765"/>
              <a:gd name="T22" fmla="*/ 2018549500 w 815"/>
              <a:gd name="T23" fmla="*/ 1483283285 h 765"/>
              <a:gd name="T24" fmla="*/ 2036233697 w 815"/>
              <a:gd name="T25" fmla="*/ 1589601892 h 765"/>
              <a:gd name="T26" fmla="*/ 2048865039 w 815"/>
              <a:gd name="T27" fmla="*/ 1667396779 h 765"/>
              <a:gd name="T28" fmla="*/ 2056445116 w 815"/>
              <a:gd name="T29" fmla="*/ 1716666338 h 765"/>
              <a:gd name="T30" fmla="*/ 2056445116 w 815"/>
              <a:gd name="T31" fmla="*/ 1734819552 h 765"/>
              <a:gd name="T32" fmla="*/ 2046339406 w 815"/>
              <a:gd name="T33" fmla="*/ 1737412178 h 765"/>
              <a:gd name="T34" fmla="*/ 2013496645 w 815"/>
              <a:gd name="T35" fmla="*/ 1750378529 h 765"/>
              <a:gd name="T36" fmla="*/ 1957916833 w 815"/>
              <a:gd name="T37" fmla="*/ 1773716996 h 765"/>
              <a:gd name="T38" fmla="*/ 1874547114 w 815"/>
              <a:gd name="T39" fmla="*/ 1810020203 h 765"/>
              <a:gd name="T40" fmla="*/ 1773493199 w 815"/>
              <a:gd name="T41" fmla="*/ 1854104509 h 765"/>
              <a:gd name="T42" fmla="*/ 1657282308 w 815"/>
              <a:gd name="T43" fmla="*/ 1893001953 h 765"/>
              <a:gd name="T44" fmla="*/ 1525912854 w 815"/>
              <a:gd name="T45" fmla="*/ 1924118298 h 765"/>
              <a:gd name="T46" fmla="*/ 1379384835 w 815"/>
              <a:gd name="T47" fmla="*/ 1950051001 h 765"/>
              <a:gd name="T48" fmla="*/ 1222751107 w 815"/>
              <a:gd name="T49" fmla="*/ 1970795230 h 765"/>
              <a:gd name="T50" fmla="*/ 1068643012 w 815"/>
              <a:gd name="T51" fmla="*/ 1981168956 h 765"/>
              <a:gd name="T52" fmla="*/ 914536506 w 815"/>
              <a:gd name="T53" fmla="*/ 1978574719 h 765"/>
              <a:gd name="T54" fmla="*/ 762955632 w 815"/>
              <a:gd name="T55" fmla="*/ 1965609978 h 765"/>
              <a:gd name="T56" fmla="*/ 613901981 w 815"/>
              <a:gd name="T57" fmla="*/ 1944864138 h 765"/>
              <a:gd name="T58" fmla="*/ 477479672 w 815"/>
              <a:gd name="T59" fmla="*/ 1913746183 h 765"/>
              <a:gd name="T60" fmla="*/ 351161482 w 815"/>
              <a:gd name="T61" fmla="*/ 1877442976 h 765"/>
              <a:gd name="T62" fmla="*/ 240003447 w 815"/>
              <a:gd name="T63" fmla="*/ 1835951295 h 765"/>
              <a:gd name="T64" fmla="*/ 141475164 w 815"/>
              <a:gd name="T65" fmla="*/ 1791868599 h 765"/>
              <a:gd name="T66" fmla="*/ 68211155 w 815"/>
              <a:gd name="T67" fmla="*/ 1758158018 h 765"/>
              <a:gd name="T68" fmla="*/ 22737052 w 815"/>
              <a:gd name="T69" fmla="*/ 1737412178 h 765"/>
              <a:gd name="T70" fmla="*/ 2525633 w 815"/>
              <a:gd name="T71" fmla="*/ 1729632689 h 765"/>
              <a:gd name="T72" fmla="*/ 0 w 815"/>
              <a:gd name="T73" fmla="*/ 1721853200 h 765"/>
              <a:gd name="T74" fmla="*/ 5052855 w 815"/>
              <a:gd name="T75" fmla="*/ 1688142619 h 765"/>
              <a:gd name="T76" fmla="*/ 15158564 w 815"/>
              <a:gd name="T77" fmla="*/ 1625906709 h 765"/>
              <a:gd name="T78" fmla="*/ 30315539 w 815"/>
              <a:gd name="T79" fmla="*/ 1535145470 h 765"/>
              <a:gd name="T80" fmla="*/ 50526958 w 815"/>
              <a:gd name="T81" fmla="*/ 1423640001 h 765"/>
              <a:gd name="T82" fmla="*/ 80842497 w 815"/>
              <a:gd name="T83" fmla="*/ 1306949280 h 765"/>
              <a:gd name="T84" fmla="*/ 121263745 w 815"/>
              <a:gd name="T85" fmla="*/ 1185070086 h 765"/>
              <a:gd name="T86" fmla="*/ 169265070 w 815"/>
              <a:gd name="T87" fmla="*/ 1058005640 h 765"/>
              <a:gd name="T88" fmla="*/ 224844883 w 815"/>
              <a:gd name="T89" fmla="*/ 930941194 h 765"/>
              <a:gd name="T90" fmla="*/ 293056037 w 815"/>
              <a:gd name="T91" fmla="*/ 801284121 h 765"/>
              <a:gd name="T92" fmla="*/ 371372901 w 815"/>
              <a:gd name="T93" fmla="*/ 674219675 h 765"/>
              <a:gd name="T94" fmla="*/ 459795475 w 815"/>
              <a:gd name="T95" fmla="*/ 547155229 h 765"/>
              <a:gd name="T96" fmla="*/ 555796536 w 815"/>
              <a:gd name="T97" fmla="*/ 425277645 h 765"/>
              <a:gd name="T98" fmla="*/ 651797597 w 815"/>
              <a:gd name="T99" fmla="*/ 318957429 h 765"/>
              <a:gd name="T100" fmla="*/ 742745803 w 815"/>
              <a:gd name="T101" fmla="*/ 228197800 h 765"/>
              <a:gd name="T102" fmla="*/ 833694009 w 815"/>
              <a:gd name="T103" fmla="*/ 152995539 h 765"/>
              <a:gd name="T104" fmla="*/ 914536506 w 815"/>
              <a:gd name="T105" fmla="*/ 90759629 h 765"/>
              <a:gd name="T106" fmla="*/ 975169173 w 815"/>
              <a:gd name="T107" fmla="*/ 44084306 h 765"/>
              <a:gd name="T108" fmla="*/ 1013064788 w 815"/>
              <a:gd name="T109" fmla="*/ 15558978 h 765"/>
              <a:gd name="T110" fmla="*/ 1028221763 w 815"/>
              <a:gd name="T111" fmla="*/ 2592626 h 765"/>
              <a:gd name="T112" fmla="*/ 1035801840 w 815"/>
              <a:gd name="T113" fmla="*/ 2592626 h 765"/>
              <a:gd name="T114" fmla="*/ 1061064524 w 815"/>
              <a:gd name="T115" fmla="*/ 23338466 h 765"/>
              <a:gd name="T116" fmla="*/ 1109065849 w 815"/>
              <a:gd name="T117" fmla="*/ 59643284 h 765"/>
              <a:gd name="T118" fmla="*/ 1182329859 w 815"/>
              <a:gd name="T119" fmla="*/ 111505469 h 76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15" h="765">
                <a:moveTo>
                  <a:pt x="476" y="49"/>
                </a:moveTo>
                <a:lnTo>
                  <a:pt x="485" y="56"/>
                </a:lnTo>
                <a:lnTo>
                  <a:pt x="494" y="63"/>
                </a:lnTo>
                <a:lnTo>
                  <a:pt x="503" y="70"/>
                </a:lnTo>
                <a:lnTo>
                  <a:pt x="511" y="78"/>
                </a:lnTo>
                <a:lnTo>
                  <a:pt x="521" y="86"/>
                </a:lnTo>
                <a:lnTo>
                  <a:pt x="530" y="95"/>
                </a:lnTo>
                <a:lnTo>
                  <a:pt x="539" y="104"/>
                </a:lnTo>
                <a:lnTo>
                  <a:pt x="548" y="113"/>
                </a:lnTo>
                <a:lnTo>
                  <a:pt x="557" y="123"/>
                </a:lnTo>
                <a:lnTo>
                  <a:pt x="567" y="133"/>
                </a:lnTo>
                <a:lnTo>
                  <a:pt x="576" y="144"/>
                </a:lnTo>
                <a:lnTo>
                  <a:pt x="586" y="155"/>
                </a:lnTo>
                <a:lnTo>
                  <a:pt x="596" y="166"/>
                </a:lnTo>
                <a:lnTo>
                  <a:pt x="605" y="178"/>
                </a:lnTo>
                <a:lnTo>
                  <a:pt x="615" y="190"/>
                </a:lnTo>
                <a:lnTo>
                  <a:pt x="625" y="203"/>
                </a:lnTo>
                <a:lnTo>
                  <a:pt x="635" y="215"/>
                </a:lnTo>
                <a:lnTo>
                  <a:pt x="644" y="228"/>
                </a:lnTo>
                <a:lnTo>
                  <a:pt x="654" y="241"/>
                </a:lnTo>
                <a:lnTo>
                  <a:pt x="662" y="253"/>
                </a:lnTo>
                <a:lnTo>
                  <a:pt x="671" y="266"/>
                </a:lnTo>
                <a:lnTo>
                  <a:pt x="679" y="278"/>
                </a:lnTo>
                <a:lnTo>
                  <a:pt x="687" y="291"/>
                </a:lnTo>
                <a:lnTo>
                  <a:pt x="695" y="303"/>
                </a:lnTo>
                <a:lnTo>
                  <a:pt x="702" y="315"/>
                </a:lnTo>
                <a:lnTo>
                  <a:pt x="709" y="328"/>
                </a:lnTo>
                <a:lnTo>
                  <a:pt x="716" y="340"/>
                </a:lnTo>
                <a:lnTo>
                  <a:pt x="723" y="352"/>
                </a:lnTo>
                <a:lnTo>
                  <a:pt x="729" y="364"/>
                </a:lnTo>
                <a:lnTo>
                  <a:pt x="735" y="376"/>
                </a:lnTo>
                <a:lnTo>
                  <a:pt x="740" y="388"/>
                </a:lnTo>
                <a:lnTo>
                  <a:pt x="745" y="400"/>
                </a:lnTo>
                <a:lnTo>
                  <a:pt x="750" y="412"/>
                </a:lnTo>
                <a:lnTo>
                  <a:pt x="755" y="424"/>
                </a:lnTo>
                <a:lnTo>
                  <a:pt x="760" y="436"/>
                </a:lnTo>
                <a:lnTo>
                  <a:pt x="764" y="448"/>
                </a:lnTo>
                <a:lnTo>
                  <a:pt x="768" y="459"/>
                </a:lnTo>
                <a:lnTo>
                  <a:pt x="772" y="471"/>
                </a:lnTo>
                <a:lnTo>
                  <a:pt x="776" y="482"/>
                </a:lnTo>
                <a:lnTo>
                  <a:pt x="780" y="494"/>
                </a:lnTo>
                <a:lnTo>
                  <a:pt x="783" y="505"/>
                </a:lnTo>
                <a:lnTo>
                  <a:pt x="786" y="517"/>
                </a:lnTo>
                <a:lnTo>
                  <a:pt x="789" y="528"/>
                </a:lnTo>
                <a:lnTo>
                  <a:pt x="792" y="539"/>
                </a:lnTo>
                <a:lnTo>
                  <a:pt x="795" y="550"/>
                </a:lnTo>
                <a:lnTo>
                  <a:pt x="797" y="561"/>
                </a:lnTo>
                <a:lnTo>
                  <a:pt x="799" y="572"/>
                </a:lnTo>
                <a:lnTo>
                  <a:pt x="801" y="583"/>
                </a:lnTo>
                <a:lnTo>
                  <a:pt x="803" y="594"/>
                </a:lnTo>
                <a:lnTo>
                  <a:pt x="805" y="604"/>
                </a:lnTo>
                <a:lnTo>
                  <a:pt x="806" y="613"/>
                </a:lnTo>
                <a:lnTo>
                  <a:pt x="808" y="622"/>
                </a:lnTo>
                <a:lnTo>
                  <a:pt x="809" y="629"/>
                </a:lnTo>
                <a:lnTo>
                  <a:pt x="810" y="636"/>
                </a:lnTo>
                <a:lnTo>
                  <a:pt x="811" y="643"/>
                </a:lnTo>
                <a:lnTo>
                  <a:pt x="812" y="649"/>
                </a:lnTo>
                <a:lnTo>
                  <a:pt x="813" y="654"/>
                </a:lnTo>
                <a:lnTo>
                  <a:pt x="813" y="658"/>
                </a:lnTo>
                <a:lnTo>
                  <a:pt x="814" y="662"/>
                </a:lnTo>
                <a:lnTo>
                  <a:pt x="814" y="664"/>
                </a:lnTo>
                <a:lnTo>
                  <a:pt x="814" y="667"/>
                </a:lnTo>
                <a:lnTo>
                  <a:pt x="814" y="668"/>
                </a:lnTo>
                <a:lnTo>
                  <a:pt x="814" y="669"/>
                </a:lnTo>
                <a:lnTo>
                  <a:pt x="813" y="669"/>
                </a:lnTo>
                <a:lnTo>
                  <a:pt x="812" y="669"/>
                </a:lnTo>
                <a:lnTo>
                  <a:pt x="810" y="670"/>
                </a:lnTo>
                <a:lnTo>
                  <a:pt x="808" y="671"/>
                </a:lnTo>
                <a:lnTo>
                  <a:pt x="805" y="672"/>
                </a:lnTo>
                <a:lnTo>
                  <a:pt x="801" y="673"/>
                </a:lnTo>
                <a:lnTo>
                  <a:pt x="797" y="675"/>
                </a:lnTo>
                <a:lnTo>
                  <a:pt x="792" y="677"/>
                </a:lnTo>
                <a:lnTo>
                  <a:pt x="787" y="679"/>
                </a:lnTo>
                <a:lnTo>
                  <a:pt x="781" y="681"/>
                </a:lnTo>
                <a:lnTo>
                  <a:pt x="775" y="684"/>
                </a:lnTo>
                <a:lnTo>
                  <a:pt x="767" y="687"/>
                </a:lnTo>
                <a:lnTo>
                  <a:pt x="760" y="691"/>
                </a:lnTo>
                <a:lnTo>
                  <a:pt x="751" y="694"/>
                </a:lnTo>
                <a:lnTo>
                  <a:pt x="742" y="698"/>
                </a:lnTo>
                <a:lnTo>
                  <a:pt x="733" y="702"/>
                </a:lnTo>
                <a:lnTo>
                  <a:pt x="723" y="707"/>
                </a:lnTo>
                <a:lnTo>
                  <a:pt x="713" y="711"/>
                </a:lnTo>
                <a:lnTo>
                  <a:pt x="702" y="715"/>
                </a:lnTo>
                <a:lnTo>
                  <a:pt x="691" y="719"/>
                </a:lnTo>
                <a:lnTo>
                  <a:pt x="679" y="722"/>
                </a:lnTo>
                <a:lnTo>
                  <a:pt x="668" y="726"/>
                </a:lnTo>
                <a:lnTo>
                  <a:pt x="656" y="730"/>
                </a:lnTo>
                <a:lnTo>
                  <a:pt x="643" y="733"/>
                </a:lnTo>
                <a:lnTo>
                  <a:pt x="630" y="736"/>
                </a:lnTo>
                <a:lnTo>
                  <a:pt x="617" y="739"/>
                </a:lnTo>
                <a:lnTo>
                  <a:pt x="604" y="742"/>
                </a:lnTo>
                <a:lnTo>
                  <a:pt x="590" y="745"/>
                </a:lnTo>
                <a:lnTo>
                  <a:pt x="575" y="748"/>
                </a:lnTo>
                <a:lnTo>
                  <a:pt x="561" y="750"/>
                </a:lnTo>
                <a:lnTo>
                  <a:pt x="546" y="752"/>
                </a:lnTo>
                <a:lnTo>
                  <a:pt x="531" y="755"/>
                </a:lnTo>
                <a:lnTo>
                  <a:pt x="515" y="757"/>
                </a:lnTo>
                <a:lnTo>
                  <a:pt x="500" y="759"/>
                </a:lnTo>
                <a:lnTo>
                  <a:pt x="484" y="760"/>
                </a:lnTo>
                <a:lnTo>
                  <a:pt x="469" y="761"/>
                </a:lnTo>
                <a:lnTo>
                  <a:pt x="454" y="762"/>
                </a:lnTo>
                <a:lnTo>
                  <a:pt x="438" y="763"/>
                </a:lnTo>
                <a:lnTo>
                  <a:pt x="423" y="764"/>
                </a:lnTo>
                <a:lnTo>
                  <a:pt x="408" y="764"/>
                </a:lnTo>
                <a:lnTo>
                  <a:pt x="392" y="764"/>
                </a:lnTo>
                <a:lnTo>
                  <a:pt x="377" y="764"/>
                </a:lnTo>
                <a:lnTo>
                  <a:pt x="362" y="763"/>
                </a:lnTo>
                <a:lnTo>
                  <a:pt x="347" y="762"/>
                </a:lnTo>
                <a:lnTo>
                  <a:pt x="332" y="761"/>
                </a:lnTo>
                <a:lnTo>
                  <a:pt x="317" y="760"/>
                </a:lnTo>
                <a:lnTo>
                  <a:pt x="302" y="758"/>
                </a:lnTo>
                <a:lnTo>
                  <a:pt x="287" y="756"/>
                </a:lnTo>
                <a:lnTo>
                  <a:pt x="272" y="754"/>
                </a:lnTo>
                <a:lnTo>
                  <a:pt x="257" y="752"/>
                </a:lnTo>
                <a:lnTo>
                  <a:pt x="243" y="750"/>
                </a:lnTo>
                <a:lnTo>
                  <a:pt x="229" y="747"/>
                </a:lnTo>
                <a:lnTo>
                  <a:pt x="215" y="744"/>
                </a:lnTo>
                <a:lnTo>
                  <a:pt x="202" y="741"/>
                </a:lnTo>
                <a:lnTo>
                  <a:pt x="189" y="738"/>
                </a:lnTo>
                <a:lnTo>
                  <a:pt x="176" y="735"/>
                </a:lnTo>
                <a:lnTo>
                  <a:pt x="164" y="732"/>
                </a:lnTo>
                <a:lnTo>
                  <a:pt x="151" y="728"/>
                </a:lnTo>
                <a:lnTo>
                  <a:pt x="139" y="724"/>
                </a:lnTo>
                <a:lnTo>
                  <a:pt x="128" y="721"/>
                </a:lnTo>
                <a:lnTo>
                  <a:pt x="116" y="716"/>
                </a:lnTo>
                <a:lnTo>
                  <a:pt x="105" y="712"/>
                </a:lnTo>
                <a:lnTo>
                  <a:pt x="95" y="708"/>
                </a:lnTo>
                <a:lnTo>
                  <a:pt x="84" y="703"/>
                </a:lnTo>
                <a:lnTo>
                  <a:pt x="74" y="699"/>
                </a:lnTo>
                <a:lnTo>
                  <a:pt x="65" y="695"/>
                </a:lnTo>
                <a:lnTo>
                  <a:pt x="56" y="691"/>
                </a:lnTo>
                <a:lnTo>
                  <a:pt x="48" y="687"/>
                </a:lnTo>
                <a:lnTo>
                  <a:pt x="40" y="684"/>
                </a:lnTo>
                <a:lnTo>
                  <a:pt x="34" y="681"/>
                </a:lnTo>
                <a:lnTo>
                  <a:pt x="27" y="678"/>
                </a:lnTo>
                <a:lnTo>
                  <a:pt x="22" y="675"/>
                </a:lnTo>
                <a:lnTo>
                  <a:pt x="17" y="673"/>
                </a:lnTo>
                <a:lnTo>
                  <a:pt x="13" y="672"/>
                </a:lnTo>
                <a:lnTo>
                  <a:pt x="9" y="670"/>
                </a:lnTo>
                <a:lnTo>
                  <a:pt x="6" y="669"/>
                </a:lnTo>
                <a:lnTo>
                  <a:pt x="3" y="668"/>
                </a:lnTo>
                <a:lnTo>
                  <a:pt x="2" y="667"/>
                </a:lnTo>
                <a:lnTo>
                  <a:pt x="1" y="667"/>
                </a:lnTo>
                <a:lnTo>
                  <a:pt x="0" y="667"/>
                </a:lnTo>
                <a:lnTo>
                  <a:pt x="0" y="666"/>
                </a:lnTo>
                <a:lnTo>
                  <a:pt x="0" y="664"/>
                </a:lnTo>
                <a:lnTo>
                  <a:pt x="0" y="662"/>
                </a:lnTo>
                <a:lnTo>
                  <a:pt x="1" y="659"/>
                </a:lnTo>
                <a:lnTo>
                  <a:pt x="1" y="655"/>
                </a:lnTo>
                <a:lnTo>
                  <a:pt x="2" y="651"/>
                </a:lnTo>
                <a:lnTo>
                  <a:pt x="3" y="646"/>
                </a:lnTo>
                <a:lnTo>
                  <a:pt x="4" y="640"/>
                </a:lnTo>
                <a:lnTo>
                  <a:pt x="5" y="634"/>
                </a:lnTo>
                <a:lnTo>
                  <a:pt x="6" y="627"/>
                </a:lnTo>
                <a:lnTo>
                  <a:pt x="7" y="619"/>
                </a:lnTo>
                <a:lnTo>
                  <a:pt x="9" y="611"/>
                </a:lnTo>
                <a:lnTo>
                  <a:pt x="10" y="602"/>
                </a:lnTo>
                <a:lnTo>
                  <a:pt x="12" y="592"/>
                </a:lnTo>
                <a:lnTo>
                  <a:pt x="14" y="582"/>
                </a:lnTo>
                <a:lnTo>
                  <a:pt x="16" y="571"/>
                </a:lnTo>
                <a:lnTo>
                  <a:pt x="18" y="560"/>
                </a:lnTo>
                <a:lnTo>
                  <a:pt x="20" y="549"/>
                </a:lnTo>
                <a:lnTo>
                  <a:pt x="23" y="538"/>
                </a:lnTo>
                <a:lnTo>
                  <a:pt x="26" y="527"/>
                </a:lnTo>
                <a:lnTo>
                  <a:pt x="29" y="515"/>
                </a:lnTo>
                <a:lnTo>
                  <a:pt x="32" y="504"/>
                </a:lnTo>
                <a:lnTo>
                  <a:pt x="36" y="492"/>
                </a:lnTo>
                <a:lnTo>
                  <a:pt x="40" y="481"/>
                </a:lnTo>
                <a:lnTo>
                  <a:pt x="44" y="469"/>
                </a:lnTo>
                <a:lnTo>
                  <a:pt x="48" y="457"/>
                </a:lnTo>
                <a:lnTo>
                  <a:pt x="52" y="445"/>
                </a:lnTo>
                <a:lnTo>
                  <a:pt x="57" y="433"/>
                </a:lnTo>
                <a:lnTo>
                  <a:pt x="62" y="421"/>
                </a:lnTo>
                <a:lnTo>
                  <a:pt x="67" y="408"/>
                </a:lnTo>
                <a:lnTo>
                  <a:pt x="72" y="396"/>
                </a:lnTo>
                <a:lnTo>
                  <a:pt x="77" y="383"/>
                </a:lnTo>
                <a:lnTo>
                  <a:pt x="83" y="371"/>
                </a:lnTo>
                <a:lnTo>
                  <a:pt x="89" y="359"/>
                </a:lnTo>
                <a:lnTo>
                  <a:pt x="95" y="346"/>
                </a:lnTo>
                <a:lnTo>
                  <a:pt x="102" y="334"/>
                </a:lnTo>
                <a:lnTo>
                  <a:pt x="109" y="321"/>
                </a:lnTo>
                <a:lnTo>
                  <a:pt x="116" y="309"/>
                </a:lnTo>
                <a:lnTo>
                  <a:pt x="123" y="297"/>
                </a:lnTo>
                <a:lnTo>
                  <a:pt x="131" y="284"/>
                </a:lnTo>
                <a:lnTo>
                  <a:pt x="139" y="272"/>
                </a:lnTo>
                <a:lnTo>
                  <a:pt x="147" y="260"/>
                </a:lnTo>
                <a:lnTo>
                  <a:pt x="155" y="248"/>
                </a:lnTo>
                <a:lnTo>
                  <a:pt x="164" y="236"/>
                </a:lnTo>
                <a:lnTo>
                  <a:pt x="173" y="223"/>
                </a:lnTo>
                <a:lnTo>
                  <a:pt x="182" y="211"/>
                </a:lnTo>
                <a:lnTo>
                  <a:pt x="192" y="199"/>
                </a:lnTo>
                <a:lnTo>
                  <a:pt x="201" y="187"/>
                </a:lnTo>
                <a:lnTo>
                  <a:pt x="211" y="176"/>
                </a:lnTo>
                <a:lnTo>
                  <a:pt x="220" y="164"/>
                </a:lnTo>
                <a:lnTo>
                  <a:pt x="230" y="154"/>
                </a:lnTo>
                <a:lnTo>
                  <a:pt x="239" y="143"/>
                </a:lnTo>
                <a:lnTo>
                  <a:pt x="249" y="133"/>
                </a:lnTo>
                <a:lnTo>
                  <a:pt x="258" y="123"/>
                </a:lnTo>
                <a:lnTo>
                  <a:pt x="267" y="114"/>
                </a:lnTo>
                <a:lnTo>
                  <a:pt x="276" y="105"/>
                </a:lnTo>
                <a:lnTo>
                  <a:pt x="285" y="96"/>
                </a:lnTo>
                <a:lnTo>
                  <a:pt x="294" y="88"/>
                </a:lnTo>
                <a:lnTo>
                  <a:pt x="303" y="80"/>
                </a:lnTo>
                <a:lnTo>
                  <a:pt x="312" y="73"/>
                </a:lnTo>
                <a:lnTo>
                  <a:pt x="321" y="65"/>
                </a:lnTo>
                <a:lnTo>
                  <a:pt x="330" y="59"/>
                </a:lnTo>
                <a:lnTo>
                  <a:pt x="339" y="52"/>
                </a:lnTo>
                <a:lnTo>
                  <a:pt x="347" y="46"/>
                </a:lnTo>
                <a:lnTo>
                  <a:pt x="355" y="40"/>
                </a:lnTo>
                <a:lnTo>
                  <a:pt x="362" y="35"/>
                </a:lnTo>
                <a:lnTo>
                  <a:pt x="369" y="30"/>
                </a:lnTo>
                <a:lnTo>
                  <a:pt x="375" y="25"/>
                </a:lnTo>
                <a:lnTo>
                  <a:pt x="381" y="21"/>
                </a:lnTo>
                <a:lnTo>
                  <a:pt x="386" y="17"/>
                </a:lnTo>
                <a:lnTo>
                  <a:pt x="391" y="14"/>
                </a:lnTo>
                <a:lnTo>
                  <a:pt x="395" y="11"/>
                </a:lnTo>
                <a:lnTo>
                  <a:pt x="398" y="8"/>
                </a:lnTo>
                <a:lnTo>
                  <a:pt x="401" y="6"/>
                </a:lnTo>
                <a:lnTo>
                  <a:pt x="403" y="4"/>
                </a:lnTo>
                <a:lnTo>
                  <a:pt x="405" y="3"/>
                </a:lnTo>
                <a:lnTo>
                  <a:pt x="406" y="1"/>
                </a:lnTo>
                <a:lnTo>
                  <a:pt x="407" y="1"/>
                </a:lnTo>
                <a:lnTo>
                  <a:pt x="407" y="0"/>
                </a:lnTo>
                <a:lnTo>
                  <a:pt x="408" y="0"/>
                </a:lnTo>
                <a:lnTo>
                  <a:pt x="408" y="1"/>
                </a:lnTo>
                <a:lnTo>
                  <a:pt x="410" y="1"/>
                </a:lnTo>
                <a:lnTo>
                  <a:pt x="411" y="3"/>
                </a:lnTo>
                <a:lnTo>
                  <a:pt x="414" y="4"/>
                </a:lnTo>
                <a:lnTo>
                  <a:pt x="417" y="6"/>
                </a:lnTo>
                <a:lnTo>
                  <a:pt x="420" y="9"/>
                </a:lnTo>
                <a:lnTo>
                  <a:pt x="424" y="12"/>
                </a:lnTo>
                <a:lnTo>
                  <a:pt x="429" y="15"/>
                </a:lnTo>
                <a:lnTo>
                  <a:pt x="434" y="19"/>
                </a:lnTo>
                <a:lnTo>
                  <a:pt x="439" y="23"/>
                </a:lnTo>
                <a:lnTo>
                  <a:pt x="446" y="27"/>
                </a:lnTo>
                <a:lnTo>
                  <a:pt x="452" y="32"/>
                </a:lnTo>
                <a:lnTo>
                  <a:pt x="460" y="38"/>
                </a:lnTo>
                <a:lnTo>
                  <a:pt x="468" y="43"/>
                </a:lnTo>
                <a:lnTo>
                  <a:pt x="476" y="49"/>
                </a:lnTo>
                <a:close/>
              </a:path>
            </a:pathLst>
          </a:cu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3" name="Freeform 10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5339022" y="4467368"/>
            <a:ext cx="1771025" cy="1389741"/>
          </a:xfrm>
          <a:custGeom>
            <a:avLst/>
            <a:gdLst>
              <a:gd name="T0" fmla="*/ 313148603 w 829"/>
              <a:gd name="T1" fmla="*/ 128935752 h 865"/>
              <a:gd name="T2" fmla="*/ 466023359 w 829"/>
              <a:gd name="T3" fmla="*/ 173567721 h 865"/>
              <a:gd name="T4" fmla="*/ 636158473 w 829"/>
              <a:gd name="T5" fmla="*/ 208280951 h 865"/>
              <a:gd name="T6" fmla="*/ 823555514 w 829"/>
              <a:gd name="T7" fmla="*/ 233075440 h 865"/>
              <a:gd name="T8" fmla="*/ 1006018780 w 829"/>
              <a:gd name="T9" fmla="*/ 245474259 h 865"/>
              <a:gd name="T10" fmla="*/ 1183551414 w 829"/>
              <a:gd name="T11" fmla="*/ 240514101 h 865"/>
              <a:gd name="T12" fmla="*/ 1356153414 w 829"/>
              <a:gd name="T13" fmla="*/ 220678195 h 865"/>
              <a:gd name="T14" fmla="*/ 1521357894 w 829"/>
              <a:gd name="T15" fmla="*/ 185964966 h 865"/>
              <a:gd name="T16" fmla="*/ 1674232651 w 829"/>
              <a:gd name="T17" fmla="*/ 143813075 h 865"/>
              <a:gd name="T18" fmla="*/ 1817246141 w 829"/>
              <a:gd name="T19" fmla="*/ 86783861 h 865"/>
              <a:gd name="T20" fmla="*/ 1928204233 w 829"/>
              <a:gd name="T21" fmla="*/ 42151891 h 865"/>
              <a:gd name="T22" fmla="*/ 1994778774 w 829"/>
              <a:gd name="T23" fmla="*/ 14877323 h 865"/>
              <a:gd name="T24" fmla="*/ 2019435081 w 829"/>
              <a:gd name="T25" fmla="*/ 7438662 h 865"/>
              <a:gd name="T26" fmla="*/ 2021901968 w 829"/>
              <a:gd name="T27" fmla="*/ 27274568 h 865"/>
              <a:gd name="T28" fmla="*/ 2026832601 w 829"/>
              <a:gd name="T29" fmla="*/ 84303782 h 865"/>
              <a:gd name="T30" fmla="*/ 2034230122 w 829"/>
              <a:gd name="T31" fmla="*/ 181006383 h 865"/>
              <a:gd name="T32" fmla="*/ 2041627642 w 829"/>
              <a:gd name="T33" fmla="*/ 312420639 h 865"/>
              <a:gd name="T34" fmla="*/ 2031764805 w 829"/>
              <a:gd name="T35" fmla="*/ 466152454 h 865"/>
              <a:gd name="T36" fmla="*/ 2007106928 w 829"/>
              <a:gd name="T37" fmla="*/ 644678758 h 865"/>
              <a:gd name="T38" fmla="*/ 1965190264 w 829"/>
              <a:gd name="T39" fmla="*/ 840560890 h 865"/>
              <a:gd name="T40" fmla="*/ 1903546356 w 829"/>
              <a:gd name="T41" fmla="*/ 1031486013 h 865"/>
              <a:gd name="T42" fmla="*/ 1827108977 w 829"/>
              <a:gd name="T43" fmla="*/ 1217450979 h 865"/>
              <a:gd name="T44" fmla="*/ 1730944355 w 829"/>
              <a:gd name="T45" fmla="*/ 1395977283 h 865"/>
              <a:gd name="T46" fmla="*/ 1627383783 w 829"/>
              <a:gd name="T47" fmla="*/ 1559626264 h 865"/>
              <a:gd name="T48" fmla="*/ 1516425691 w 829"/>
              <a:gd name="T49" fmla="*/ 1705917843 h 865"/>
              <a:gd name="T50" fmla="*/ 1398070078 w 829"/>
              <a:gd name="T51" fmla="*/ 1834853594 h 865"/>
              <a:gd name="T52" fmla="*/ 1289578873 w 829"/>
              <a:gd name="T53" fmla="*/ 1938994857 h 865"/>
              <a:gd name="T54" fmla="*/ 1198346454 w 829"/>
              <a:gd name="T55" fmla="*/ 2020818560 h 865"/>
              <a:gd name="T56" fmla="*/ 1121909076 w 829"/>
              <a:gd name="T57" fmla="*/ 2075369270 h 865"/>
              <a:gd name="T58" fmla="*/ 1067662688 w 829"/>
              <a:gd name="T59" fmla="*/ 2112562578 h 865"/>
              <a:gd name="T60" fmla="*/ 1030676658 w 829"/>
              <a:gd name="T61" fmla="*/ 2134876989 h 865"/>
              <a:gd name="T62" fmla="*/ 1018348504 w 829"/>
              <a:gd name="T63" fmla="*/ 2142315650 h 865"/>
              <a:gd name="T64" fmla="*/ 1008485667 w 829"/>
              <a:gd name="T65" fmla="*/ 2134876989 h 865"/>
              <a:gd name="T66" fmla="*/ 969032750 w 829"/>
              <a:gd name="T67" fmla="*/ 2107602421 h 865"/>
              <a:gd name="T68" fmla="*/ 897527575 w 829"/>
              <a:gd name="T69" fmla="*/ 2055531790 h 865"/>
              <a:gd name="T70" fmla="*/ 801362953 w 829"/>
              <a:gd name="T71" fmla="*/ 1981146748 h 865"/>
              <a:gd name="T72" fmla="*/ 695337064 w 829"/>
              <a:gd name="T73" fmla="*/ 1886924226 h 865"/>
              <a:gd name="T74" fmla="*/ 584378972 w 829"/>
              <a:gd name="T75" fmla="*/ 1772865797 h 865"/>
              <a:gd name="T76" fmla="*/ 470955563 w 829"/>
              <a:gd name="T77" fmla="*/ 1636491384 h 865"/>
              <a:gd name="T78" fmla="*/ 364928104 w 829"/>
              <a:gd name="T79" fmla="*/ 1495158388 h 865"/>
              <a:gd name="T80" fmla="*/ 273695685 w 829"/>
              <a:gd name="T81" fmla="*/ 1346386730 h 865"/>
              <a:gd name="T82" fmla="*/ 197258307 w 829"/>
              <a:gd name="T83" fmla="*/ 1195134994 h 865"/>
              <a:gd name="T84" fmla="*/ 133149083 w 829"/>
              <a:gd name="T85" fmla="*/ 1036444596 h 865"/>
              <a:gd name="T86" fmla="*/ 83834898 w 829"/>
              <a:gd name="T87" fmla="*/ 877754198 h 865"/>
              <a:gd name="T88" fmla="*/ 44383551 w 829"/>
              <a:gd name="T89" fmla="*/ 716585296 h 865"/>
              <a:gd name="T90" fmla="*/ 17260357 w 829"/>
              <a:gd name="T91" fmla="*/ 555414819 h 865"/>
              <a:gd name="T92" fmla="*/ 4932204 w 829"/>
              <a:gd name="T93" fmla="*/ 401684578 h 865"/>
              <a:gd name="T94" fmla="*/ 0 w 829"/>
              <a:gd name="T95" fmla="*/ 255391424 h 865"/>
              <a:gd name="T96" fmla="*/ 4932204 w 829"/>
              <a:gd name="T97" fmla="*/ 126455673 h 865"/>
              <a:gd name="T98" fmla="*/ 7397520 w 829"/>
              <a:gd name="T99" fmla="*/ 42151891 h 865"/>
              <a:gd name="T100" fmla="*/ 9862837 w 829"/>
              <a:gd name="T101" fmla="*/ 2480079 h 865"/>
              <a:gd name="T102" fmla="*/ 17260357 w 829"/>
              <a:gd name="T103" fmla="*/ 2480079 h 865"/>
              <a:gd name="T104" fmla="*/ 59177021 w 829"/>
              <a:gd name="T105" fmla="*/ 22315985 h 865"/>
              <a:gd name="T106" fmla="*/ 140546603 w 829"/>
              <a:gd name="T107" fmla="*/ 57029214 h 86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29" h="865">
                <a:moveTo>
                  <a:pt x="85" y="35"/>
                </a:moveTo>
                <a:lnTo>
                  <a:pt x="95" y="40"/>
                </a:lnTo>
                <a:lnTo>
                  <a:pt x="105" y="44"/>
                </a:lnTo>
                <a:lnTo>
                  <a:pt x="116" y="48"/>
                </a:lnTo>
                <a:lnTo>
                  <a:pt x="127" y="52"/>
                </a:lnTo>
                <a:lnTo>
                  <a:pt x="139" y="56"/>
                </a:lnTo>
                <a:lnTo>
                  <a:pt x="151" y="59"/>
                </a:lnTo>
                <a:lnTo>
                  <a:pt x="163" y="63"/>
                </a:lnTo>
                <a:lnTo>
                  <a:pt x="176" y="66"/>
                </a:lnTo>
                <a:lnTo>
                  <a:pt x="189" y="70"/>
                </a:lnTo>
                <a:lnTo>
                  <a:pt x="202" y="73"/>
                </a:lnTo>
                <a:lnTo>
                  <a:pt x="215" y="76"/>
                </a:lnTo>
                <a:lnTo>
                  <a:pt x="229" y="79"/>
                </a:lnTo>
                <a:lnTo>
                  <a:pt x="243" y="81"/>
                </a:lnTo>
                <a:lnTo>
                  <a:pt x="258" y="84"/>
                </a:lnTo>
                <a:lnTo>
                  <a:pt x="273" y="86"/>
                </a:lnTo>
                <a:lnTo>
                  <a:pt x="288" y="89"/>
                </a:lnTo>
                <a:lnTo>
                  <a:pt x="303" y="91"/>
                </a:lnTo>
                <a:lnTo>
                  <a:pt x="319" y="93"/>
                </a:lnTo>
                <a:lnTo>
                  <a:pt x="334" y="94"/>
                </a:lnTo>
                <a:lnTo>
                  <a:pt x="349" y="96"/>
                </a:lnTo>
                <a:lnTo>
                  <a:pt x="364" y="97"/>
                </a:lnTo>
                <a:lnTo>
                  <a:pt x="379" y="98"/>
                </a:lnTo>
                <a:lnTo>
                  <a:pt x="393" y="98"/>
                </a:lnTo>
                <a:lnTo>
                  <a:pt x="408" y="99"/>
                </a:lnTo>
                <a:lnTo>
                  <a:pt x="423" y="99"/>
                </a:lnTo>
                <a:lnTo>
                  <a:pt x="437" y="99"/>
                </a:lnTo>
                <a:lnTo>
                  <a:pt x="452" y="98"/>
                </a:lnTo>
                <a:lnTo>
                  <a:pt x="466" y="98"/>
                </a:lnTo>
                <a:lnTo>
                  <a:pt x="480" y="97"/>
                </a:lnTo>
                <a:lnTo>
                  <a:pt x="495" y="96"/>
                </a:lnTo>
                <a:lnTo>
                  <a:pt x="509" y="94"/>
                </a:lnTo>
                <a:lnTo>
                  <a:pt x="523" y="93"/>
                </a:lnTo>
                <a:lnTo>
                  <a:pt x="537" y="91"/>
                </a:lnTo>
                <a:lnTo>
                  <a:pt x="550" y="89"/>
                </a:lnTo>
                <a:lnTo>
                  <a:pt x="564" y="86"/>
                </a:lnTo>
                <a:lnTo>
                  <a:pt x="577" y="84"/>
                </a:lnTo>
                <a:lnTo>
                  <a:pt x="591" y="81"/>
                </a:lnTo>
                <a:lnTo>
                  <a:pt x="604" y="78"/>
                </a:lnTo>
                <a:lnTo>
                  <a:pt x="617" y="75"/>
                </a:lnTo>
                <a:lnTo>
                  <a:pt x="630" y="72"/>
                </a:lnTo>
                <a:lnTo>
                  <a:pt x="642" y="69"/>
                </a:lnTo>
                <a:lnTo>
                  <a:pt x="655" y="65"/>
                </a:lnTo>
                <a:lnTo>
                  <a:pt x="667" y="62"/>
                </a:lnTo>
                <a:lnTo>
                  <a:pt x="679" y="58"/>
                </a:lnTo>
                <a:lnTo>
                  <a:pt x="691" y="53"/>
                </a:lnTo>
                <a:lnTo>
                  <a:pt x="703" y="49"/>
                </a:lnTo>
                <a:lnTo>
                  <a:pt x="715" y="45"/>
                </a:lnTo>
                <a:lnTo>
                  <a:pt x="726" y="40"/>
                </a:lnTo>
                <a:lnTo>
                  <a:pt x="737" y="35"/>
                </a:lnTo>
                <a:lnTo>
                  <a:pt x="748" y="31"/>
                </a:lnTo>
                <a:lnTo>
                  <a:pt x="758" y="27"/>
                </a:lnTo>
                <a:lnTo>
                  <a:pt x="767" y="23"/>
                </a:lnTo>
                <a:lnTo>
                  <a:pt x="775" y="20"/>
                </a:lnTo>
                <a:lnTo>
                  <a:pt x="782" y="17"/>
                </a:lnTo>
                <a:lnTo>
                  <a:pt x="789" y="14"/>
                </a:lnTo>
                <a:lnTo>
                  <a:pt x="795" y="12"/>
                </a:lnTo>
                <a:lnTo>
                  <a:pt x="801" y="9"/>
                </a:lnTo>
                <a:lnTo>
                  <a:pt x="805" y="8"/>
                </a:lnTo>
                <a:lnTo>
                  <a:pt x="809" y="6"/>
                </a:lnTo>
                <a:lnTo>
                  <a:pt x="813" y="5"/>
                </a:lnTo>
                <a:lnTo>
                  <a:pt x="815" y="4"/>
                </a:lnTo>
                <a:lnTo>
                  <a:pt x="817" y="3"/>
                </a:lnTo>
                <a:lnTo>
                  <a:pt x="818" y="3"/>
                </a:lnTo>
                <a:lnTo>
                  <a:pt x="819" y="3"/>
                </a:lnTo>
                <a:lnTo>
                  <a:pt x="819" y="4"/>
                </a:lnTo>
                <a:lnTo>
                  <a:pt x="819" y="6"/>
                </a:lnTo>
                <a:lnTo>
                  <a:pt x="819" y="8"/>
                </a:lnTo>
                <a:lnTo>
                  <a:pt x="820" y="11"/>
                </a:lnTo>
                <a:lnTo>
                  <a:pt x="820" y="14"/>
                </a:lnTo>
                <a:lnTo>
                  <a:pt x="820" y="18"/>
                </a:lnTo>
                <a:lnTo>
                  <a:pt x="821" y="23"/>
                </a:lnTo>
                <a:lnTo>
                  <a:pt x="821" y="28"/>
                </a:lnTo>
                <a:lnTo>
                  <a:pt x="822" y="34"/>
                </a:lnTo>
                <a:lnTo>
                  <a:pt x="822" y="41"/>
                </a:lnTo>
                <a:lnTo>
                  <a:pt x="823" y="48"/>
                </a:lnTo>
                <a:lnTo>
                  <a:pt x="824" y="56"/>
                </a:lnTo>
                <a:lnTo>
                  <a:pt x="825" y="64"/>
                </a:lnTo>
                <a:lnTo>
                  <a:pt x="825" y="73"/>
                </a:lnTo>
                <a:lnTo>
                  <a:pt x="826" y="83"/>
                </a:lnTo>
                <a:lnTo>
                  <a:pt x="827" y="93"/>
                </a:lnTo>
                <a:lnTo>
                  <a:pt x="828" y="104"/>
                </a:lnTo>
                <a:lnTo>
                  <a:pt x="828" y="115"/>
                </a:lnTo>
                <a:lnTo>
                  <a:pt x="828" y="126"/>
                </a:lnTo>
                <a:lnTo>
                  <a:pt x="828" y="138"/>
                </a:lnTo>
                <a:lnTo>
                  <a:pt x="827" y="150"/>
                </a:lnTo>
                <a:lnTo>
                  <a:pt x="826" y="162"/>
                </a:lnTo>
                <a:lnTo>
                  <a:pt x="825" y="175"/>
                </a:lnTo>
                <a:lnTo>
                  <a:pt x="824" y="188"/>
                </a:lnTo>
                <a:lnTo>
                  <a:pt x="822" y="202"/>
                </a:lnTo>
                <a:lnTo>
                  <a:pt x="821" y="216"/>
                </a:lnTo>
                <a:lnTo>
                  <a:pt x="819" y="230"/>
                </a:lnTo>
                <a:lnTo>
                  <a:pt x="816" y="245"/>
                </a:lnTo>
                <a:lnTo>
                  <a:pt x="814" y="260"/>
                </a:lnTo>
                <a:lnTo>
                  <a:pt x="811" y="275"/>
                </a:lnTo>
                <a:lnTo>
                  <a:pt x="808" y="291"/>
                </a:lnTo>
                <a:lnTo>
                  <a:pt x="804" y="307"/>
                </a:lnTo>
                <a:lnTo>
                  <a:pt x="801" y="323"/>
                </a:lnTo>
                <a:lnTo>
                  <a:pt x="797" y="339"/>
                </a:lnTo>
                <a:lnTo>
                  <a:pt x="792" y="354"/>
                </a:lnTo>
                <a:lnTo>
                  <a:pt x="788" y="370"/>
                </a:lnTo>
                <a:lnTo>
                  <a:pt x="783" y="385"/>
                </a:lnTo>
                <a:lnTo>
                  <a:pt x="778" y="401"/>
                </a:lnTo>
                <a:lnTo>
                  <a:pt x="772" y="416"/>
                </a:lnTo>
                <a:lnTo>
                  <a:pt x="767" y="431"/>
                </a:lnTo>
                <a:lnTo>
                  <a:pt x="761" y="446"/>
                </a:lnTo>
                <a:lnTo>
                  <a:pt x="754" y="461"/>
                </a:lnTo>
                <a:lnTo>
                  <a:pt x="748" y="476"/>
                </a:lnTo>
                <a:lnTo>
                  <a:pt x="741" y="491"/>
                </a:lnTo>
                <a:lnTo>
                  <a:pt x="734" y="506"/>
                </a:lnTo>
                <a:lnTo>
                  <a:pt x="726" y="520"/>
                </a:lnTo>
                <a:lnTo>
                  <a:pt x="718" y="535"/>
                </a:lnTo>
                <a:lnTo>
                  <a:pt x="710" y="549"/>
                </a:lnTo>
                <a:lnTo>
                  <a:pt x="702" y="563"/>
                </a:lnTo>
                <a:lnTo>
                  <a:pt x="694" y="577"/>
                </a:lnTo>
                <a:lnTo>
                  <a:pt x="686" y="590"/>
                </a:lnTo>
                <a:lnTo>
                  <a:pt x="677" y="604"/>
                </a:lnTo>
                <a:lnTo>
                  <a:pt x="669" y="617"/>
                </a:lnTo>
                <a:lnTo>
                  <a:pt x="660" y="629"/>
                </a:lnTo>
                <a:lnTo>
                  <a:pt x="651" y="641"/>
                </a:lnTo>
                <a:lnTo>
                  <a:pt x="642" y="654"/>
                </a:lnTo>
                <a:lnTo>
                  <a:pt x="633" y="665"/>
                </a:lnTo>
                <a:lnTo>
                  <a:pt x="624" y="677"/>
                </a:lnTo>
                <a:lnTo>
                  <a:pt x="615" y="688"/>
                </a:lnTo>
                <a:lnTo>
                  <a:pt x="605" y="699"/>
                </a:lnTo>
                <a:lnTo>
                  <a:pt x="596" y="709"/>
                </a:lnTo>
                <a:lnTo>
                  <a:pt x="586" y="720"/>
                </a:lnTo>
                <a:lnTo>
                  <a:pt x="577" y="730"/>
                </a:lnTo>
                <a:lnTo>
                  <a:pt x="567" y="740"/>
                </a:lnTo>
                <a:lnTo>
                  <a:pt x="558" y="749"/>
                </a:lnTo>
                <a:lnTo>
                  <a:pt x="549" y="758"/>
                </a:lnTo>
                <a:lnTo>
                  <a:pt x="540" y="766"/>
                </a:lnTo>
                <a:lnTo>
                  <a:pt x="531" y="774"/>
                </a:lnTo>
                <a:lnTo>
                  <a:pt x="523" y="782"/>
                </a:lnTo>
                <a:lnTo>
                  <a:pt x="515" y="789"/>
                </a:lnTo>
                <a:lnTo>
                  <a:pt x="507" y="796"/>
                </a:lnTo>
                <a:lnTo>
                  <a:pt x="500" y="803"/>
                </a:lnTo>
                <a:lnTo>
                  <a:pt x="493" y="809"/>
                </a:lnTo>
                <a:lnTo>
                  <a:pt x="486" y="815"/>
                </a:lnTo>
                <a:lnTo>
                  <a:pt x="479" y="820"/>
                </a:lnTo>
                <a:lnTo>
                  <a:pt x="473" y="825"/>
                </a:lnTo>
                <a:lnTo>
                  <a:pt x="467" y="829"/>
                </a:lnTo>
                <a:lnTo>
                  <a:pt x="461" y="833"/>
                </a:lnTo>
                <a:lnTo>
                  <a:pt x="455" y="837"/>
                </a:lnTo>
                <a:lnTo>
                  <a:pt x="450" y="840"/>
                </a:lnTo>
                <a:lnTo>
                  <a:pt x="445" y="844"/>
                </a:lnTo>
                <a:lnTo>
                  <a:pt x="441" y="847"/>
                </a:lnTo>
                <a:lnTo>
                  <a:pt x="437" y="849"/>
                </a:lnTo>
                <a:lnTo>
                  <a:pt x="433" y="852"/>
                </a:lnTo>
                <a:lnTo>
                  <a:pt x="429" y="854"/>
                </a:lnTo>
                <a:lnTo>
                  <a:pt x="426" y="856"/>
                </a:lnTo>
                <a:lnTo>
                  <a:pt x="423" y="858"/>
                </a:lnTo>
                <a:lnTo>
                  <a:pt x="421" y="859"/>
                </a:lnTo>
                <a:lnTo>
                  <a:pt x="418" y="861"/>
                </a:lnTo>
                <a:lnTo>
                  <a:pt x="417" y="862"/>
                </a:lnTo>
                <a:lnTo>
                  <a:pt x="415" y="863"/>
                </a:lnTo>
                <a:lnTo>
                  <a:pt x="414" y="864"/>
                </a:lnTo>
                <a:lnTo>
                  <a:pt x="413" y="864"/>
                </a:lnTo>
                <a:lnTo>
                  <a:pt x="412" y="864"/>
                </a:lnTo>
                <a:lnTo>
                  <a:pt x="410" y="863"/>
                </a:lnTo>
                <a:lnTo>
                  <a:pt x="409" y="861"/>
                </a:lnTo>
                <a:lnTo>
                  <a:pt x="407" y="860"/>
                </a:lnTo>
                <a:lnTo>
                  <a:pt x="404" y="858"/>
                </a:lnTo>
                <a:lnTo>
                  <a:pt x="401" y="855"/>
                </a:lnTo>
                <a:lnTo>
                  <a:pt x="397" y="853"/>
                </a:lnTo>
                <a:lnTo>
                  <a:pt x="393" y="850"/>
                </a:lnTo>
                <a:lnTo>
                  <a:pt x="388" y="846"/>
                </a:lnTo>
                <a:lnTo>
                  <a:pt x="383" y="842"/>
                </a:lnTo>
                <a:lnTo>
                  <a:pt x="377" y="838"/>
                </a:lnTo>
                <a:lnTo>
                  <a:pt x="371" y="834"/>
                </a:lnTo>
                <a:lnTo>
                  <a:pt x="364" y="829"/>
                </a:lnTo>
                <a:lnTo>
                  <a:pt x="357" y="823"/>
                </a:lnTo>
                <a:lnTo>
                  <a:pt x="349" y="818"/>
                </a:lnTo>
                <a:lnTo>
                  <a:pt x="341" y="812"/>
                </a:lnTo>
                <a:lnTo>
                  <a:pt x="333" y="806"/>
                </a:lnTo>
                <a:lnTo>
                  <a:pt x="325" y="799"/>
                </a:lnTo>
                <a:lnTo>
                  <a:pt x="316" y="792"/>
                </a:lnTo>
                <a:lnTo>
                  <a:pt x="308" y="785"/>
                </a:lnTo>
                <a:lnTo>
                  <a:pt x="300" y="777"/>
                </a:lnTo>
                <a:lnTo>
                  <a:pt x="291" y="769"/>
                </a:lnTo>
                <a:lnTo>
                  <a:pt x="282" y="761"/>
                </a:lnTo>
                <a:lnTo>
                  <a:pt x="273" y="752"/>
                </a:lnTo>
                <a:lnTo>
                  <a:pt x="265" y="743"/>
                </a:lnTo>
                <a:lnTo>
                  <a:pt x="256" y="734"/>
                </a:lnTo>
                <a:lnTo>
                  <a:pt x="247" y="725"/>
                </a:lnTo>
                <a:lnTo>
                  <a:pt x="237" y="715"/>
                </a:lnTo>
                <a:lnTo>
                  <a:pt x="228" y="704"/>
                </a:lnTo>
                <a:lnTo>
                  <a:pt x="219" y="694"/>
                </a:lnTo>
                <a:lnTo>
                  <a:pt x="209" y="683"/>
                </a:lnTo>
                <a:lnTo>
                  <a:pt x="200" y="672"/>
                </a:lnTo>
                <a:lnTo>
                  <a:pt x="191" y="660"/>
                </a:lnTo>
                <a:lnTo>
                  <a:pt x="182" y="649"/>
                </a:lnTo>
                <a:lnTo>
                  <a:pt x="173" y="638"/>
                </a:lnTo>
                <a:lnTo>
                  <a:pt x="165" y="626"/>
                </a:lnTo>
                <a:lnTo>
                  <a:pt x="156" y="615"/>
                </a:lnTo>
                <a:lnTo>
                  <a:pt x="148" y="603"/>
                </a:lnTo>
                <a:lnTo>
                  <a:pt x="141" y="591"/>
                </a:lnTo>
                <a:lnTo>
                  <a:pt x="133" y="579"/>
                </a:lnTo>
                <a:lnTo>
                  <a:pt x="126" y="567"/>
                </a:lnTo>
                <a:lnTo>
                  <a:pt x="118" y="555"/>
                </a:lnTo>
                <a:lnTo>
                  <a:pt x="111" y="543"/>
                </a:lnTo>
                <a:lnTo>
                  <a:pt x="105" y="531"/>
                </a:lnTo>
                <a:lnTo>
                  <a:pt x="98" y="519"/>
                </a:lnTo>
                <a:lnTo>
                  <a:pt x="92" y="506"/>
                </a:lnTo>
                <a:lnTo>
                  <a:pt x="86" y="494"/>
                </a:lnTo>
                <a:lnTo>
                  <a:pt x="80" y="482"/>
                </a:lnTo>
                <a:lnTo>
                  <a:pt x="75" y="469"/>
                </a:lnTo>
                <a:lnTo>
                  <a:pt x="69" y="456"/>
                </a:lnTo>
                <a:lnTo>
                  <a:pt x="64" y="444"/>
                </a:lnTo>
                <a:lnTo>
                  <a:pt x="59" y="431"/>
                </a:lnTo>
                <a:lnTo>
                  <a:pt x="54" y="418"/>
                </a:lnTo>
                <a:lnTo>
                  <a:pt x="50" y="406"/>
                </a:lnTo>
                <a:lnTo>
                  <a:pt x="45" y="393"/>
                </a:lnTo>
                <a:lnTo>
                  <a:pt x="41" y="380"/>
                </a:lnTo>
                <a:lnTo>
                  <a:pt x="37" y="367"/>
                </a:lnTo>
                <a:lnTo>
                  <a:pt x="34" y="354"/>
                </a:lnTo>
                <a:lnTo>
                  <a:pt x="30" y="341"/>
                </a:lnTo>
                <a:lnTo>
                  <a:pt x="27" y="328"/>
                </a:lnTo>
                <a:lnTo>
                  <a:pt x="24" y="315"/>
                </a:lnTo>
                <a:lnTo>
                  <a:pt x="21" y="302"/>
                </a:lnTo>
                <a:lnTo>
                  <a:pt x="18" y="289"/>
                </a:lnTo>
                <a:lnTo>
                  <a:pt x="16" y="276"/>
                </a:lnTo>
                <a:lnTo>
                  <a:pt x="13" y="263"/>
                </a:lnTo>
                <a:lnTo>
                  <a:pt x="11" y="250"/>
                </a:lnTo>
                <a:lnTo>
                  <a:pt x="9" y="237"/>
                </a:lnTo>
                <a:lnTo>
                  <a:pt x="7" y="224"/>
                </a:lnTo>
                <a:lnTo>
                  <a:pt x="6" y="212"/>
                </a:lnTo>
                <a:lnTo>
                  <a:pt x="4" y="199"/>
                </a:lnTo>
                <a:lnTo>
                  <a:pt x="3" y="187"/>
                </a:lnTo>
                <a:lnTo>
                  <a:pt x="2" y="175"/>
                </a:lnTo>
                <a:lnTo>
                  <a:pt x="2" y="162"/>
                </a:lnTo>
                <a:lnTo>
                  <a:pt x="1" y="150"/>
                </a:lnTo>
                <a:lnTo>
                  <a:pt x="0" y="138"/>
                </a:lnTo>
                <a:lnTo>
                  <a:pt x="0" y="126"/>
                </a:lnTo>
                <a:lnTo>
                  <a:pt x="0" y="115"/>
                </a:lnTo>
                <a:lnTo>
                  <a:pt x="0" y="103"/>
                </a:lnTo>
                <a:lnTo>
                  <a:pt x="1" y="92"/>
                </a:lnTo>
                <a:lnTo>
                  <a:pt x="1" y="80"/>
                </a:lnTo>
                <a:lnTo>
                  <a:pt x="1" y="70"/>
                </a:lnTo>
                <a:lnTo>
                  <a:pt x="2" y="60"/>
                </a:lnTo>
                <a:lnTo>
                  <a:pt x="2" y="51"/>
                </a:lnTo>
                <a:lnTo>
                  <a:pt x="2" y="43"/>
                </a:lnTo>
                <a:lnTo>
                  <a:pt x="3" y="36"/>
                </a:lnTo>
                <a:lnTo>
                  <a:pt x="3" y="29"/>
                </a:lnTo>
                <a:lnTo>
                  <a:pt x="3" y="23"/>
                </a:lnTo>
                <a:lnTo>
                  <a:pt x="3" y="17"/>
                </a:lnTo>
                <a:lnTo>
                  <a:pt x="4" y="13"/>
                </a:lnTo>
                <a:lnTo>
                  <a:pt x="4" y="9"/>
                </a:lnTo>
                <a:lnTo>
                  <a:pt x="4" y="5"/>
                </a:lnTo>
                <a:lnTo>
                  <a:pt x="4" y="3"/>
                </a:lnTo>
                <a:lnTo>
                  <a:pt x="4" y="1"/>
                </a:lnTo>
                <a:lnTo>
                  <a:pt x="4" y="0"/>
                </a:lnTo>
                <a:lnTo>
                  <a:pt x="5" y="0"/>
                </a:lnTo>
                <a:lnTo>
                  <a:pt x="7" y="1"/>
                </a:lnTo>
                <a:lnTo>
                  <a:pt x="9" y="2"/>
                </a:lnTo>
                <a:lnTo>
                  <a:pt x="12" y="3"/>
                </a:lnTo>
                <a:lnTo>
                  <a:pt x="15" y="5"/>
                </a:lnTo>
                <a:lnTo>
                  <a:pt x="19" y="6"/>
                </a:lnTo>
                <a:lnTo>
                  <a:pt x="24" y="9"/>
                </a:lnTo>
                <a:lnTo>
                  <a:pt x="30" y="11"/>
                </a:lnTo>
                <a:lnTo>
                  <a:pt x="36" y="14"/>
                </a:lnTo>
                <a:lnTo>
                  <a:pt x="42" y="16"/>
                </a:lnTo>
                <a:lnTo>
                  <a:pt x="49" y="20"/>
                </a:lnTo>
                <a:lnTo>
                  <a:pt x="57" y="23"/>
                </a:lnTo>
                <a:lnTo>
                  <a:pt x="66" y="27"/>
                </a:lnTo>
                <a:lnTo>
                  <a:pt x="75" y="31"/>
                </a:lnTo>
                <a:lnTo>
                  <a:pt x="85" y="3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922095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3669" y="983136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>
            <a:off x="3280748" y="1809310"/>
            <a:ext cx="5878941" cy="3966755"/>
            <a:chOff x="1519" y="1117"/>
            <a:chExt cx="2722" cy="244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519" y="2691"/>
              <a:ext cx="2722" cy="875"/>
            </a:xfrm>
            <a:custGeom>
              <a:avLst/>
              <a:gdLst>
                <a:gd name="T0" fmla="*/ 0 w 2689"/>
                <a:gd name="T1" fmla="*/ 884 h 865"/>
                <a:gd name="T2" fmla="*/ 1377 w 2689"/>
                <a:gd name="T3" fmla="*/ 0 h 865"/>
                <a:gd name="T4" fmla="*/ 2754 w 2689"/>
                <a:gd name="T5" fmla="*/ 884 h 865"/>
                <a:gd name="T6" fmla="*/ 0 w 2689"/>
                <a:gd name="T7" fmla="*/ 884 h 8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89" h="865">
                  <a:moveTo>
                    <a:pt x="0" y="864"/>
                  </a:moveTo>
                  <a:lnTo>
                    <a:pt x="1344" y="0"/>
                  </a:lnTo>
                  <a:lnTo>
                    <a:pt x="2688" y="864"/>
                  </a:lnTo>
                  <a:lnTo>
                    <a:pt x="0" y="864"/>
                  </a:lnTo>
                </a:path>
              </a:pathLst>
            </a:custGeom>
            <a:solidFill>
              <a:schemeClr val="hlink"/>
            </a:solidFill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878" y="1117"/>
              <a:ext cx="1363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81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flipH="1">
              <a:off x="1519" y="1117"/>
              <a:ext cx="1362" cy="2449"/>
            </a:xfrm>
            <a:custGeom>
              <a:avLst/>
              <a:gdLst>
                <a:gd name="T0" fmla="*/ 1 w 1345"/>
                <a:gd name="T1" fmla="*/ 0 h 2400"/>
                <a:gd name="T2" fmla="*/ 0 w 1345"/>
                <a:gd name="T3" fmla="*/ 1607 h 2400"/>
                <a:gd name="T4" fmla="*/ 1379 w 1345"/>
                <a:gd name="T5" fmla="*/ 2499 h 2400"/>
                <a:gd name="T6" fmla="*/ 1 w 1345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5" h="2400">
                  <a:moveTo>
                    <a:pt x="1" y="0"/>
                  </a:moveTo>
                  <a:lnTo>
                    <a:pt x="0" y="1543"/>
                  </a:lnTo>
                  <a:lnTo>
                    <a:pt x="1345" y="24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3204966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kom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72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069984" y="2818907"/>
            <a:ext cx="4430557" cy="8430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" name="Picture 23" descr="dd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-6344" y="26"/>
            <a:ext cx="243416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4646330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/>
          <p:cNvSpPr>
            <a:spLocks noGrp="1" noChangeArrowheads="1"/>
          </p:cNvSpPr>
          <p:nvPr>
            <p:ph type="ftr" sz="quarter" idx="10"/>
          </p:nvPr>
        </p:nvSpPr>
        <p:spPr>
          <a:xfrm>
            <a:off x="4176254" y="6453247"/>
            <a:ext cx="3839633" cy="268287"/>
          </a:xfrm>
          <a:prstGeom prst="rect">
            <a:avLst/>
          </a:prstGeom>
          <a:ln/>
        </p:spPr>
        <p:txBody>
          <a:bodyPr lIns="91006" tIns="45505" rIns="91006" bIns="4550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600">
              <a:solidFill>
                <a:srgbClr val="003896"/>
              </a:solidFill>
            </a:endParaRPr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689F6-9125-41BE-8AC3-B9F4C130D05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89051618"/>
      </p:ext>
    </p:extLst>
  </p:cSld>
  <p:clrMapOvr>
    <a:masterClrMapping/>
  </p:clrMapOvr>
  <p:transition spd="slow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/>
        </p:nvGrpSpPr>
        <p:grpSpPr bwMode="auto">
          <a:xfrm>
            <a:off x="-6348" y="0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altLang="en-US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2606974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647A1835-10E9-49B3-A84F-B01E97874572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65A5C1A-2B60-4943-9721-DB3EA105019F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32924834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41885054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F537085-8F4B-4BA6-8A59-95046460CD4F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C2174656-A88B-4915-BC00-47517AACBA0A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846872049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C604C92E-5CE9-4C92-9692-FEF2D137C444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4A9AEE08-A210-4EA4-99A6-CC7643B8A4D7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170205212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B90764BD-7DCE-42E4-B135-6461FEB4A325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5837B18-8D72-4FE7-AC3B-858962758CFB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933536203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4EF15AD-7FB6-40C6-92BE-7FDB229732CF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9120F47-A4EF-4FD9-826E-9CC82FCAE7CE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161505723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45EAFBA-CDCB-4DFA-8667-11E3726B427F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CA82C3B-844A-45F7-9D6D-4520555020D3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48364452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B10C358-C760-46AB-8E10-943876489E9F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8C985DD-A9E8-45F9-A95E-FFFFAFAB7D48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849595924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0A20F84D-A293-40E6-8774-AC4954F9788E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B9F84D04-F168-44F1-9B38-EC53BBECC8F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095281782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5D54BC91-0206-4CC3-8B95-6E8D6938066E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B07B7E5-D515-499D-972C-0ADA08B42607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984102426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48E07000-196C-44F4-A885-C4F74F9ACF06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BCD608FF-50E2-4B9D-9813-21E61A1125A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387697832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82087" y="1436695"/>
            <a:ext cx="11171767" cy="2446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087" y="4035425"/>
            <a:ext cx="11171767" cy="2446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3A7717F-1CE9-4E2D-9342-CED64BFC7AF3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E79AC88-7836-41C0-A303-DD13968D7E37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077651766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05755976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/>
          <a:p>
            <a:pPr lvl="0"/>
            <a:endParaRPr lang="en-ZA" noProof="0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9161A86-ED0C-4079-B066-29F226C09326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B9375AB-C20C-4391-ABED-6437C4BFE4E1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976294701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7" y="1436692"/>
            <a:ext cx="11171767" cy="5045075"/>
          </a:xfrm>
        </p:spPr>
        <p:txBody>
          <a:bodyPr/>
          <a:lstStyle/>
          <a:p>
            <a:pPr lvl="0"/>
            <a:endParaRPr lang="en-ZA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7E76F4B-6D3A-4BE5-A590-04486AC24C8B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49719C1-BA39-4319-9B2B-EA5744E2C00A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134602483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201ECDB-F6C7-4CC8-AB15-02A238B1DB87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ZA" altLang="en-US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F8A0640-8271-4229-9859-38CC076A2482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101357437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6348" y="0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198566098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0DF58-3713-428F-B39B-68FC33DA01E8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B36A65-529A-4CE6-A8DB-F92C8FB5187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62176576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CD5835-2BA4-434A-A846-BFF3A93CEA4F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8687B3-FB57-4D4E-9FD6-A991765C9AD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41153279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8C7D29-D424-4BF6-A048-DA101D3E5112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FEFBFB-FC9C-4CC6-AEB8-960F77C223B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566615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74F6E-BEC5-44B7-9A40-7619F7260BCD}" type="datetime3">
              <a:rPr lang="en-US" smtClean="0"/>
              <a:t>18 March 2026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9C4FE-B9AA-474F-8257-7C5A8DD19FE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2187805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B84E5E-56D7-4D46-B314-420A9F608867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F3548C-B530-4FDA-8E49-493AAD1CF44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50902288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EE8BFB-1B20-4D5B-A754-7FE3AB731FC4}" type="datetime3">
              <a:rPr lang="en-US" smtClean="0"/>
              <a:t>18 March 2026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B8096C-54AD-4B82-A1EC-221B9DB9199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38308898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47746627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841289-F017-4935-9C45-CA51531242FE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0E1CBB-2AF6-47FC-B736-16B8ECF2C0B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98266646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B458EF-38C0-4ABA-BF1B-DDD7BA2BDF65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BEF693-0B44-4644-B729-CAF97B5FAC4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06902867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65E80-C2C6-4178-AC8E-8C1B5E108880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43FA85-3444-4D92-9DCC-3680D7D6BC0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53106970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355F8-E314-4360-AD21-B9A0B5764CAC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A054E-F687-474A-9B6E-D6637441432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87480633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6BE91D-BE37-4D63-97F0-029965AB896A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5" y="6453247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0ECA6-5832-4193-8721-762F40941A8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79573975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6348" y="0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88480784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F1AEAE5-CCFB-4408-9D15-870616073EB9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9145A3A-0241-4F51-9366-46897F61AAB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43322121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53CDA51-5766-45A8-ADE3-2F6BF098BF55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9665A38-713D-49CF-A75E-8D0AEC554679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67347005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2E34FCE-AB2D-4A4D-A3F7-AC03F9BEC4AC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A8907750-5E5D-469D-81C1-12A1B35BEEF0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91832272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BA8AA89E-EE30-4D80-B369-298B2C04F68F}" type="datetime3">
              <a:rPr lang="en-US" smtClean="0"/>
              <a:t>18 March 2026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A7A0249-736B-484F-9728-66277F61641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75970784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5857816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C6864547-C30B-413D-8232-CE1F199184A7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63755695-D75E-4C0A-AC65-3DCBAB20185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40083532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A9D09A36-BC6B-4C96-B530-0573A684FDC8}" type="datetime3">
              <a:rPr lang="en-US" smtClean="0"/>
              <a:t>18 March 2026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05E3ABB-4C11-43AE-A204-4F879416125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25782457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5A43C1C-65C3-480C-8C6F-EA3012B9C13D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8D1F865-4C12-49F1-9A8E-ECE3C095BD8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01044920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FFE47BB-4D1B-4BF0-84A8-B4E64368085E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4B36C3B-4867-47C3-B4ED-019EE7B02EC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65340316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65F6B40-E664-4E17-BAE0-94A2D044EE1A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77ACE9E-332E-4DCF-9D30-1FB61612D82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55810531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7A6E7D25-5D12-4FA7-8D08-CB66FFC21074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7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389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5EDDA45F-98B4-4726-ADCD-F31158D5500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8781308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A83CF5F-E11C-47F7-9A24-3CF2B52E53BA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5" y="6453247"/>
            <a:ext cx="1344084" cy="268287"/>
          </a:xfrm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fld id="{BD824731-5C00-45CA-94A8-383B70E716B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0583980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34" y="3175"/>
            <a:ext cx="1220046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42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856648506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FBDBC7-4CAC-499D-BE63-D80FE5839F7B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96C4E4-F781-410B-AD6C-1AF225F5EE3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01853225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5179E-160D-4F2D-A484-98ABB3DA84DA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B4095-EEFA-46AF-BC6B-98C1269B547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27257793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2860458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5DB70-379A-4965-BC43-84E19503D3E3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A9F7F9-0A64-439D-BDE5-981E9CB70AC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26492691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0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0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CEDAC-DFD2-4059-B264-60F91C4EC6DC}" type="datetime3">
              <a:rPr lang="en-US" smtClean="0"/>
              <a:t>18 March 2026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16906-6D15-4023-97D0-5DBC5183686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57836323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B0A166-E3DC-40C0-A972-B42B234F5BBE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07EEC-A0ED-468E-ADF8-15CC7F28A5E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62424079"/>
      </p:ext>
    </p:extLst>
  </p:cSld>
  <p:clrMapOvr>
    <a:masterClrMapping/>
  </p:clrMapOvr>
  <p:transition spd="slow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BDB275-B583-4CF9-822D-76D15ACD5142}" type="datetime3">
              <a:rPr lang="en-US" smtClean="0"/>
              <a:t>18 March 2026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48F96-887E-4C04-8EB6-3A91172BC02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55688026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18110C-E7B1-49F8-BFC7-B7B891831A87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644AE-FD6C-4354-A28D-BC243C7847C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672822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588280-456C-4CD9-9316-FA1D54EF9F71}" type="datetime3">
              <a:rPr lang="en-US" smtClean="0"/>
              <a:t>18 March 20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15B70-D017-4207-BE36-A35C6712554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34075070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E6D33-3A0C-44B9-8CCB-0EF9DDC5E298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FD4E71-0C16-4E3D-82BE-35254DB99D2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76958010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5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88DF66-A7AC-42B9-900C-440C0F16FE41}" type="datetime3">
              <a:rPr lang="en-US" smtClean="0"/>
              <a:t>18 March 20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94" y="645324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15B8AD-4558-4958-818B-BEAD96C3C15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04847058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1D76C-573E-44E9-89C8-A0A570A29E87}" type="datetime3">
              <a:rPr lang="en-US" smtClean="0"/>
              <a:t>18 March 2026</a:t>
            </a:fld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5" y="6453243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1901A-5795-494A-8AC8-462401385D3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62988406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2239" y="1686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39" y="1686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Rectangle 145"/>
          <p:cNvSpPr/>
          <p:nvPr userDrawn="1"/>
        </p:nvSpPr>
        <p:spPr>
          <a:xfrm>
            <a:off x="75218" y="26"/>
            <a:ext cx="4078817" cy="6858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92786" tIns="46398" rIns="92786" bIns="46398" anchor="ctr"/>
          <a:lstStyle/>
          <a:p>
            <a:pPr algn="ctr">
              <a:defRPr/>
            </a:pPr>
            <a:endParaRPr lang="en-US" sz="1800" kern="0">
              <a:solidFill>
                <a:srgbClr val="FFFFFF"/>
              </a:solidFill>
            </a:endParaRPr>
          </a:p>
        </p:txBody>
      </p:sp>
      <p:grpSp>
        <p:nvGrpSpPr>
          <p:cNvPr id="197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198" name="Picture 23" descr="d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9" name="Rectangle 91"/>
            <p:cNvSpPr>
              <a:spLocks noChangeArrowheads="1"/>
            </p:cNvSpPr>
            <p:nvPr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pic>
          <p:nvPicPr>
            <p:cNvPr id="200" name="Picture 161" descr="logo small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438667" y="5106070"/>
            <a:ext cx="6714780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438653" y="2283937"/>
            <a:ext cx="7047099" cy="5103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438653" y="4198173"/>
            <a:ext cx="7047099" cy="290144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147" name="Group 155"/>
          <p:cNvGrpSpPr>
            <a:grpSpLocks/>
          </p:cNvGrpSpPr>
          <p:nvPr userDrawn="1"/>
        </p:nvGrpSpPr>
        <p:grpSpPr bwMode="auto">
          <a:xfrm>
            <a:off x="342909" y="1201748"/>
            <a:ext cx="3310467" cy="2444750"/>
            <a:chOff x="162" y="757"/>
            <a:chExt cx="1564" cy="1540"/>
          </a:xfrm>
        </p:grpSpPr>
        <p:sp>
          <p:nvSpPr>
            <p:cNvPr id="148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49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0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1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2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53" name="Oval 102"/>
          <p:cNvSpPr>
            <a:spLocks noChangeArrowheads="1"/>
          </p:cNvSpPr>
          <p:nvPr userDrawn="1"/>
        </p:nvSpPr>
        <p:spPr bwMode="auto">
          <a:xfrm>
            <a:off x="582159" y="1362093"/>
            <a:ext cx="2882900" cy="2173288"/>
          </a:xfrm>
          <a:prstGeom prst="ellipse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3896"/>
              </a:solidFill>
            </a:endParaRPr>
          </a:p>
        </p:txBody>
      </p:sp>
      <p:grpSp>
        <p:nvGrpSpPr>
          <p:cNvPr id="154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55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6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57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58" name="Group 146"/>
          <p:cNvGrpSpPr>
            <a:grpSpLocks/>
          </p:cNvGrpSpPr>
          <p:nvPr userDrawn="1"/>
        </p:nvGrpSpPr>
        <p:grpSpPr bwMode="auto">
          <a:xfrm>
            <a:off x="1217142" y="620735"/>
            <a:ext cx="1712383" cy="1260475"/>
            <a:chOff x="575" y="391"/>
            <a:chExt cx="809" cy="794"/>
          </a:xfrm>
        </p:grpSpPr>
        <p:sp>
          <p:nvSpPr>
            <p:cNvPr id="159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0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1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2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3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4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5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66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67" name="Oval 118"/>
          <p:cNvSpPr>
            <a:spLocks noChangeArrowheads="1"/>
          </p:cNvSpPr>
          <p:nvPr userDrawn="1"/>
        </p:nvSpPr>
        <p:spPr bwMode="auto">
          <a:xfrm>
            <a:off x="1322917" y="657224"/>
            <a:ext cx="1481667" cy="1112838"/>
          </a:xfrm>
          <a:prstGeom prst="ellipse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">
              <a:solidFill>
                <a:srgbClr val="003896"/>
              </a:solidFill>
            </a:endParaRPr>
          </a:p>
        </p:txBody>
      </p:sp>
      <p:grpSp>
        <p:nvGrpSpPr>
          <p:cNvPr id="168" name="Group 145"/>
          <p:cNvGrpSpPr>
            <a:grpSpLocks/>
          </p:cNvGrpSpPr>
          <p:nvPr userDrawn="1"/>
        </p:nvGrpSpPr>
        <p:grpSpPr bwMode="auto">
          <a:xfrm>
            <a:off x="1151483" y="620735"/>
            <a:ext cx="1826684" cy="1284287"/>
            <a:chOff x="544" y="391"/>
            <a:chExt cx="863" cy="809"/>
          </a:xfrm>
        </p:grpSpPr>
        <p:sp>
          <p:nvSpPr>
            <p:cNvPr id="169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0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1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72" name="Group 157"/>
          <p:cNvGrpSpPr>
            <a:grpSpLocks/>
          </p:cNvGrpSpPr>
          <p:nvPr userDrawn="1"/>
        </p:nvGrpSpPr>
        <p:grpSpPr bwMode="auto">
          <a:xfrm>
            <a:off x="442401" y="3090863"/>
            <a:ext cx="2766483" cy="2038350"/>
            <a:chOff x="209" y="1947"/>
            <a:chExt cx="1307" cy="1284"/>
          </a:xfrm>
        </p:grpSpPr>
        <p:sp>
          <p:nvSpPr>
            <p:cNvPr id="173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4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5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6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7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78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79" name="Oval 128"/>
          <p:cNvSpPr>
            <a:spLocks noChangeArrowheads="1"/>
          </p:cNvSpPr>
          <p:nvPr userDrawn="1"/>
        </p:nvSpPr>
        <p:spPr bwMode="auto">
          <a:xfrm>
            <a:off x="643567" y="3227388"/>
            <a:ext cx="2402417" cy="1814512"/>
          </a:xfrm>
          <a:prstGeom prst="ellipse">
            <a:avLst/>
          </a:prstGeom>
          <a:blipFill dpi="0" rotWithShape="1">
            <a:blip r:embed="rId9">
              <a:alphaModFix amt="73000"/>
            </a:blip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C0C0C0"/>
              </a:solidFill>
            </a:endParaRPr>
          </a:p>
        </p:txBody>
      </p:sp>
      <p:grpSp>
        <p:nvGrpSpPr>
          <p:cNvPr id="180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181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2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3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grpSp>
        <p:nvGrpSpPr>
          <p:cNvPr id="184" name="Group 159"/>
          <p:cNvGrpSpPr>
            <a:grpSpLocks/>
          </p:cNvGrpSpPr>
          <p:nvPr userDrawn="1"/>
        </p:nvGrpSpPr>
        <p:grpSpPr bwMode="auto">
          <a:xfrm>
            <a:off x="1200252" y="4684758"/>
            <a:ext cx="2290233" cy="1692275"/>
            <a:chOff x="567" y="2951"/>
            <a:chExt cx="1082" cy="1066"/>
          </a:xfrm>
        </p:grpSpPr>
        <p:sp>
          <p:nvSpPr>
            <p:cNvPr id="185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6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7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8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89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0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91" name="Oval 138"/>
          <p:cNvSpPr>
            <a:spLocks noChangeArrowheads="1"/>
          </p:cNvSpPr>
          <p:nvPr userDrawn="1"/>
        </p:nvSpPr>
        <p:spPr bwMode="auto">
          <a:xfrm>
            <a:off x="1352623" y="4746626"/>
            <a:ext cx="2008716" cy="1519238"/>
          </a:xfrm>
          <a:prstGeom prst="ellipse">
            <a:avLst/>
          </a:prstGeom>
          <a:blipFill dpi="0" rotWithShape="1">
            <a:blip r:embed="rId10"/>
            <a:srcRect/>
            <a:stretch>
              <a:fillRect/>
            </a:stretch>
          </a:blipFill>
          <a:ln>
            <a:noFill/>
          </a:ln>
        </p:spPr>
        <p:txBody>
          <a:bodyPr lIns="92786" tIns="46398" rIns="92786" bIns="4639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C0C0C0"/>
              </a:solidFill>
            </a:endParaRPr>
          </a:p>
        </p:txBody>
      </p:sp>
      <p:grpSp>
        <p:nvGrpSpPr>
          <p:cNvPr id="192" name="Group 160"/>
          <p:cNvGrpSpPr>
            <a:grpSpLocks/>
          </p:cNvGrpSpPr>
          <p:nvPr userDrawn="1"/>
        </p:nvGrpSpPr>
        <p:grpSpPr bwMode="auto">
          <a:xfrm>
            <a:off x="1117600" y="4684811"/>
            <a:ext cx="2438400" cy="1728787"/>
            <a:chOff x="528" y="2951"/>
            <a:chExt cx="1152" cy="1089"/>
          </a:xfrm>
        </p:grpSpPr>
        <p:sp>
          <p:nvSpPr>
            <p:cNvPr id="193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4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95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pic>
        <p:nvPicPr>
          <p:cNvPr id="196" name="Picture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297" y="5910308"/>
            <a:ext cx="436456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454743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7454682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" y="26"/>
            <a:ext cx="407881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28" tIns="45467" rIns="90928" bIns="4546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5" name="Group 162"/>
          <p:cNvGrpSpPr>
            <a:grpSpLocks/>
          </p:cNvGrpSpPr>
          <p:nvPr userDrawn="1"/>
        </p:nvGrpSpPr>
        <p:grpSpPr bwMode="auto">
          <a:xfrm>
            <a:off x="-6348" y="26"/>
            <a:ext cx="12198351" cy="6858000"/>
            <a:chOff x="-3" y="0"/>
            <a:chExt cx="5763" cy="4320"/>
          </a:xfrm>
        </p:grpSpPr>
        <p:pic>
          <p:nvPicPr>
            <p:cNvPr id="6" name="Picture 23" descr="dd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pic>
          <p:nvPicPr>
            <p:cNvPr id="8" name="Picture 161" descr="logo small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55"/>
          <p:cNvGrpSpPr>
            <a:grpSpLocks/>
          </p:cNvGrpSpPr>
          <p:nvPr userDrawn="1"/>
        </p:nvGrpSpPr>
        <p:grpSpPr bwMode="auto">
          <a:xfrm>
            <a:off x="342909" y="1201748"/>
            <a:ext cx="3310467" cy="2444750"/>
            <a:chOff x="162" y="757"/>
            <a:chExt cx="1564" cy="1540"/>
          </a:xfrm>
        </p:grpSpPr>
        <p:sp>
          <p:nvSpPr>
            <p:cNvPr id="10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1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2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3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4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15" name="Oval 102" descr="DSC_4904"/>
          <p:cNvSpPr>
            <a:spLocks noChangeArrowheads="1"/>
          </p:cNvSpPr>
          <p:nvPr userDrawn="1"/>
        </p:nvSpPr>
        <p:spPr bwMode="auto">
          <a:xfrm>
            <a:off x="582159" y="1362093"/>
            <a:ext cx="2882900" cy="2173288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28" tIns="45467" rIns="90928" bIns="45467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1000"/>
          </a:p>
        </p:txBody>
      </p:sp>
      <p:grpSp>
        <p:nvGrpSpPr>
          <p:cNvPr id="16" name="Group 156"/>
          <p:cNvGrpSpPr>
            <a:grpSpLocks/>
          </p:cNvGrpSpPr>
          <p:nvPr userDrawn="1"/>
        </p:nvGrpSpPr>
        <p:grpSpPr bwMode="auto">
          <a:xfrm>
            <a:off x="228601" y="1201738"/>
            <a:ext cx="3524251" cy="2493962"/>
            <a:chOff x="108" y="757"/>
            <a:chExt cx="1665" cy="1571"/>
          </a:xfrm>
        </p:grpSpPr>
        <p:sp>
          <p:nvSpPr>
            <p:cNvPr id="17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8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19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20" name="Group 146"/>
          <p:cNvGrpSpPr>
            <a:grpSpLocks/>
          </p:cNvGrpSpPr>
          <p:nvPr userDrawn="1"/>
        </p:nvGrpSpPr>
        <p:grpSpPr bwMode="auto">
          <a:xfrm>
            <a:off x="1217142" y="620735"/>
            <a:ext cx="1712383" cy="1260475"/>
            <a:chOff x="575" y="391"/>
            <a:chExt cx="809" cy="794"/>
          </a:xfrm>
        </p:grpSpPr>
        <p:sp>
          <p:nvSpPr>
            <p:cNvPr id="21" name="Oval 147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2" name="Oval 148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3" name="Oval 149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4" name="Oval 150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5" name="Oval 151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6" name="Oval 152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7" name="Oval 153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28" name="Oval 154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4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29" name="Oval 118"/>
          <p:cNvSpPr>
            <a:spLocks noChangeArrowheads="1"/>
          </p:cNvSpPr>
          <p:nvPr userDrawn="1"/>
        </p:nvSpPr>
        <p:spPr bwMode="auto">
          <a:xfrm>
            <a:off x="1339853" y="706499"/>
            <a:ext cx="1481667" cy="1112837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928" tIns="45467" rIns="90928" bIns="45467" anchor="ctr"/>
          <a:lstStyle>
            <a:lvl1pPr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600"/>
          </a:p>
        </p:txBody>
      </p:sp>
      <p:grpSp>
        <p:nvGrpSpPr>
          <p:cNvPr id="30" name="Group 145"/>
          <p:cNvGrpSpPr>
            <a:grpSpLocks/>
          </p:cNvGrpSpPr>
          <p:nvPr userDrawn="1"/>
        </p:nvGrpSpPr>
        <p:grpSpPr bwMode="auto">
          <a:xfrm>
            <a:off x="1151483" y="620735"/>
            <a:ext cx="1826684" cy="1284287"/>
            <a:chOff x="544" y="391"/>
            <a:chExt cx="863" cy="809"/>
          </a:xfrm>
        </p:grpSpPr>
        <p:sp>
          <p:nvSpPr>
            <p:cNvPr id="31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2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3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1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34" name="Group 157"/>
          <p:cNvGrpSpPr>
            <a:grpSpLocks/>
          </p:cNvGrpSpPr>
          <p:nvPr userDrawn="1"/>
        </p:nvGrpSpPr>
        <p:grpSpPr bwMode="auto">
          <a:xfrm>
            <a:off x="442401" y="3090863"/>
            <a:ext cx="2766483" cy="2038350"/>
            <a:chOff x="209" y="1947"/>
            <a:chExt cx="1307" cy="1284"/>
          </a:xfrm>
        </p:grpSpPr>
        <p:sp>
          <p:nvSpPr>
            <p:cNvPr id="35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6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3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7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8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39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0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41" name="Oval 128"/>
          <p:cNvGrpSpPr>
            <a:grpSpLocks/>
          </p:cNvGrpSpPr>
          <p:nvPr userDrawn="1"/>
        </p:nvGrpSpPr>
        <p:grpSpPr bwMode="auto">
          <a:xfrm>
            <a:off x="635013" y="3219450"/>
            <a:ext cx="2421467" cy="1828800"/>
            <a:chOff x="300" y="2028"/>
            <a:chExt cx="1144" cy="1152"/>
          </a:xfrm>
        </p:grpSpPr>
        <p:pic>
          <p:nvPicPr>
            <p:cNvPr id="42" name="Oval 128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" y="2028"/>
              <a:ext cx="1144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Text Box 12"/>
            <p:cNvSpPr txBox="1">
              <a:spLocks noChangeArrowheads="1"/>
            </p:cNvSpPr>
            <p:nvPr/>
          </p:nvSpPr>
          <p:spPr bwMode="auto">
            <a:xfrm>
              <a:off x="470" y="2200"/>
              <a:ext cx="803" cy="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00">
                <a:solidFill>
                  <a:srgbClr val="C0C0C0"/>
                </a:solidFill>
              </a:endParaRPr>
            </a:p>
          </p:txBody>
        </p:sp>
      </p:grpSp>
      <p:grpSp>
        <p:nvGrpSpPr>
          <p:cNvPr id="44" name="Group 158"/>
          <p:cNvGrpSpPr>
            <a:grpSpLocks/>
          </p:cNvGrpSpPr>
          <p:nvPr userDrawn="1"/>
        </p:nvGrpSpPr>
        <p:grpSpPr bwMode="auto">
          <a:xfrm>
            <a:off x="342901" y="3090863"/>
            <a:ext cx="2948517" cy="2087562"/>
            <a:chOff x="162" y="1947"/>
            <a:chExt cx="1393" cy="1315"/>
          </a:xfrm>
        </p:grpSpPr>
        <p:sp>
          <p:nvSpPr>
            <p:cNvPr id="45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6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47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48" name="Group 159"/>
          <p:cNvGrpSpPr>
            <a:grpSpLocks/>
          </p:cNvGrpSpPr>
          <p:nvPr userDrawn="1"/>
        </p:nvGrpSpPr>
        <p:grpSpPr bwMode="auto">
          <a:xfrm>
            <a:off x="1200252" y="4684756"/>
            <a:ext cx="2290233" cy="1692275"/>
            <a:chOff x="567" y="2951"/>
            <a:chExt cx="1082" cy="1066"/>
          </a:xfrm>
        </p:grpSpPr>
        <p:sp>
          <p:nvSpPr>
            <p:cNvPr id="4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3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5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grpSp>
        <p:nvGrpSpPr>
          <p:cNvPr id="55" name="Oval 138"/>
          <p:cNvGrpSpPr>
            <a:grpSpLocks/>
          </p:cNvGrpSpPr>
          <p:nvPr userDrawn="1"/>
        </p:nvGrpSpPr>
        <p:grpSpPr bwMode="auto">
          <a:xfrm>
            <a:off x="1341968" y="4784725"/>
            <a:ext cx="2032000" cy="1530350"/>
            <a:chOff x="634" y="3014"/>
            <a:chExt cx="960" cy="964"/>
          </a:xfrm>
        </p:grpSpPr>
        <p:pic>
          <p:nvPicPr>
            <p:cNvPr id="56" name="Oval 138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" y="3014"/>
              <a:ext cx="960" cy="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Text Box 17"/>
            <p:cNvSpPr txBox="1">
              <a:spLocks noChangeArrowheads="1"/>
            </p:cNvSpPr>
            <p:nvPr/>
          </p:nvSpPr>
          <p:spPr bwMode="auto">
            <a:xfrm>
              <a:off x="778" y="3158"/>
              <a:ext cx="671" cy="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>
                <a:solidFill>
                  <a:srgbClr val="C0C0C0"/>
                </a:solidFill>
              </a:endParaRPr>
            </a:p>
          </p:txBody>
        </p:sp>
      </p:grpSp>
      <p:grpSp>
        <p:nvGrpSpPr>
          <p:cNvPr id="58" name="Group 160"/>
          <p:cNvGrpSpPr>
            <a:grpSpLocks/>
          </p:cNvGrpSpPr>
          <p:nvPr userDrawn="1"/>
        </p:nvGrpSpPr>
        <p:grpSpPr bwMode="auto">
          <a:xfrm>
            <a:off x="1117600" y="4684810"/>
            <a:ext cx="2438400" cy="1728787"/>
            <a:chOff x="528" y="2951"/>
            <a:chExt cx="1152" cy="1089"/>
          </a:xfrm>
        </p:grpSpPr>
        <p:sp>
          <p:nvSpPr>
            <p:cNvPr id="59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60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  <p:sp>
          <p:nvSpPr>
            <p:cNvPr id="61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rgbClr val="003896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GB" sz="1800"/>
            </a:p>
          </p:txBody>
        </p:sp>
      </p:grpSp>
      <p:sp>
        <p:nvSpPr>
          <p:cNvPr id="5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165614" y="2130499"/>
            <a:ext cx="7112001" cy="2162175"/>
          </a:xfrm>
        </p:spPr>
        <p:txBody>
          <a:bodyPr/>
          <a:lstStyle>
            <a:lvl1pPr algn="ct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78895" y="4684772"/>
            <a:ext cx="7393516" cy="954087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2" name="Rectangle 37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41"/>
            <a:ext cx="2844800" cy="476250"/>
          </a:xfrm>
        </p:spPr>
        <p:txBody>
          <a:bodyPr/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A2F177EE-BEE2-4F3D-8F68-783F6558A4FC}" type="datetime1">
              <a:rPr lang="en-ZA"/>
              <a:pPr>
                <a:defRPr/>
              </a:pPr>
              <a:t>2026/03/18</a:t>
            </a:fld>
            <a:endParaRPr lang="en-ZA"/>
          </a:p>
        </p:txBody>
      </p:sp>
      <p:sp>
        <p:nvSpPr>
          <p:cNvPr id="63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1" y="6245241"/>
            <a:ext cx="3860800" cy="476250"/>
          </a:xfrm>
          <a:prstGeom prst="rect">
            <a:avLst/>
          </a:prstGeom>
        </p:spPr>
        <p:txBody>
          <a:bodyPr lIns="92786" tIns="46398" rIns="92786" bIns="4639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>
              <a:solidFill>
                <a:srgbClr val="003896"/>
              </a:solidFill>
            </a:endParaRPr>
          </a:p>
        </p:txBody>
      </p:sp>
      <p:sp>
        <p:nvSpPr>
          <p:cNvPr id="64" name="Rectangle 3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41"/>
            <a:ext cx="2844800" cy="476250"/>
          </a:xfrm>
        </p:spPr>
        <p:txBody>
          <a:bodyPr/>
          <a:lstStyle>
            <a:lvl1pPr algn="r">
              <a:defRPr sz="10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B5C77F55-BB69-4AFF-94BF-43BA7F0502A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05288634"/>
      </p:ext>
    </p:extLst>
  </p:cSld>
  <p:clrMapOvr>
    <a:masterClrMapping/>
  </p:clrMapOvr>
  <p:transition spd="slow">
    <p:fade/>
  </p:transition>
  <p:hf hdr="0" ft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323" y="1268761"/>
            <a:ext cx="11172092" cy="5213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40357877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5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4633" indent="0">
              <a:buNone/>
              <a:defRPr sz="1800"/>
            </a:lvl2pPr>
            <a:lvl3pPr marL="909278" indent="0">
              <a:buNone/>
              <a:defRPr sz="1600"/>
            </a:lvl3pPr>
            <a:lvl4pPr marL="1363916" indent="0">
              <a:buNone/>
              <a:defRPr sz="1400"/>
            </a:lvl4pPr>
            <a:lvl5pPr marL="1818554" indent="0">
              <a:buNone/>
              <a:defRPr sz="1400"/>
            </a:lvl5pPr>
            <a:lvl6pPr marL="2273191" indent="0">
              <a:buNone/>
              <a:defRPr sz="1400"/>
            </a:lvl6pPr>
            <a:lvl7pPr marL="2727834" indent="0">
              <a:buNone/>
              <a:defRPr sz="1400"/>
            </a:lvl7pPr>
            <a:lvl8pPr marL="3182473" indent="0">
              <a:buNone/>
              <a:defRPr sz="1400"/>
            </a:lvl8pPr>
            <a:lvl9pPr marL="36371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9B704-B34B-479F-A06C-BC451AB2738B}" type="datetime1">
              <a:rPr lang="en-ZA"/>
              <a:pPr>
                <a:defRPr/>
              </a:pPr>
              <a:t>2026/03/18</a:t>
            </a:fld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EFCAC-3ACE-4AF3-AF26-F063C36430C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15987189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109" y="1436742"/>
            <a:ext cx="5484283" cy="50450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75" y="1436742"/>
            <a:ext cx="5484284" cy="50450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8D6A54-C36A-46DA-831C-4F597E8C082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14550698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8" y="6453231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07268562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and Tex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66700" y="1589087"/>
            <a:ext cx="11497733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8" y="6453231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16407637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kom Title and Text with Footnot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7404945" y="1589087"/>
            <a:ext cx="4359585" cy="46656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552528" y="6453231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19874703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k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0" y="109372"/>
            <a:ext cx="9313333" cy="761543"/>
          </a:xfrm>
          <a:prstGeom prst="rect">
            <a:avLst/>
          </a:prstGeom>
        </p:spPr>
        <p:txBody>
          <a:bodyPr/>
          <a:lstStyle/>
          <a:p>
            <a:r>
              <a:rPr lang="en-ZA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701" y="1035065"/>
            <a:ext cx="9863667" cy="363538"/>
          </a:xfrm>
        </p:spPr>
        <p:txBody>
          <a:bodyPr anchor="ctr" anchorCtr="0"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52528" y="6453231"/>
            <a:ext cx="220133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F0BB24-C430-46B6-BE91-2F5F82DF4FD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77694790"/>
      </p:ext>
    </p:extLst>
  </p:cSld>
  <p:clrMapOvr>
    <a:masterClrMapping/>
  </p:clrMapOvr>
  <p:transition spd="slow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6220208" y="3351313"/>
            <a:ext cx="3429743" cy="227736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>
            <a:lvl1pPr marL="342900" indent="-342900"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92088" indent="-188913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76238" indent="-182563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1500" indent="-193675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287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59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31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0300" indent="-193675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225" lvl="2" indent="0" fontAlgn="base">
              <a:spcAft>
                <a:spcPct val="0"/>
              </a:spcAft>
              <a:buFontTx/>
              <a:buNone/>
            </a:pPr>
            <a:endParaRPr lang="en-GB" altLang="en-US" sz="1400">
              <a:solidFill>
                <a:srgbClr val="003896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03669" y="932973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8" name="Oval 5"/>
          <p:cNvSpPr>
            <a:spLocks noChangeArrowheads="1"/>
          </p:cNvSpPr>
          <p:nvPr userDrawn="1"/>
        </p:nvSpPr>
        <p:spPr bwMode="auto">
          <a:xfrm>
            <a:off x="6513960" y="2763345"/>
            <a:ext cx="587463" cy="440571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786" tIns="46398" rIns="92786" bIns="46398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grpSp>
        <p:nvGrpSpPr>
          <p:cNvPr id="9" name="Group 6"/>
          <p:cNvGrpSpPr>
            <a:grpSpLocks/>
          </p:cNvGrpSpPr>
          <p:nvPr userDrawn="1"/>
        </p:nvGrpSpPr>
        <p:grpSpPr bwMode="auto">
          <a:xfrm>
            <a:off x="2889894" y="2492788"/>
            <a:ext cx="3436223" cy="3109910"/>
            <a:chOff x="1577" y="1539"/>
            <a:chExt cx="1591" cy="1920"/>
          </a:xfrm>
        </p:grpSpPr>
        <p:sp>
          <p:nvSpPr>
            <p:cNvPr id="10" name="Arc 7"/>
            <p:cNvSpPr>
              <a:spLocks/>
            </p:cNvSpPr>
            <p:nvPr/>
          </p:nvSpPr>
          <p:spPr bwMode="auto">
            <a:xfrm>
              <a:off x="1577" y="2573"/>
              <a:ext cx="538" cy="886"/>
            </a:xfrm>
            <a:custGeom>
              <a:avLst/>
              <a:gdLst>
                <a:gd name="T0" fmla="*/ 0 w 28334"/>
                <a:gd name="T1" fmla="*/ 2 h 21600"/>
                <a:gd name="T2" fmla="*/ 10 w 28334"/>
                <a:gd name="T3" fmla="*/ 36 h 21600"/>
                <a:gd name="T4" fmla="*/ 2 w 28334"/>
                <a:gd name="T5" fmla="*/ 36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334" h="21600" fill="none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</a:path>
                <a:path w="28334" h="21600" stroke="0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  <a:lnTo>
                    <a:pt x="6734" y="21600"/>
                  </a:lnTo>
                  <a:lnTo>
                    <a:pt x="-1" y="1076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  <p:sp>
          <p:nvSpPr>
            <p:cNvPr id="11" name="Arc 8"/>
            <p:cNvSpPr>
              <a:spLocks/>
            </p:cNvSpPr>
            <p:nvPr/>
          </p:nvSpPr>
          <p:spPr bwMode="auto">
            <a:xfrm>
              <a:off x="2103" y="1539"/>
              <a:ext cx="1065" cy="1920"/>
            </a:xfrm>
            <a:custGeom>
              <a:avLst/>
              <a:gdLst>
                <a:gd name="T0" fmla="*/ 0 w 28293"/>
                <a:gd name="T1" fmla="*/ 170 h 21600"/>
                <a:gd name="T2" fmla="*/ 40 w 28293"/>
                <a:gd name="T3" fmla="*/ 8 h 21600"/>
                <a:gd name="T4" fmla="*/ 31 w 28293"/>
                <a:gd name="T5" fmla="*/ 17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293" h="21600" fill="none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</a:path>
                <a:path w="28293" h="21600" stroke="0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  <a:lnTo>
                    <a:pt x="21600" y="21600"/>
                  </a:lnTo>
                  <a:lnTo>
                    <a:pt x="0" y="21544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prstDash val="sys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3896"/>
                </a:solidFill>
              </a:endParaRPr>
            </a:p>
          </p:txBody>
        </p:sp>
      </p:grpSp>
      <p:sp>
        <p:nvSpPr>
          <p:cNvPr id="12" name="Line 9"/>
          <p:cNvSpPr>
            <a:spLocks noChangeShapeType="1"/>
          </p:cNvSpPr>
          <p:nvPr userDrawn="1"/>
        </p:nvSpPr>
        <p:spPr bwMode="auto">
          <a:xfrm flipH="1">
            <a:off x="2790476" y="5753334"/>
            <a:ext cx="684652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235975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3D3D17-118C-4274-BE08-EBE413621F8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sp>
        <p:nvSpPr>
          <p:cNvPr id="6" name="Oval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339067" y="3131027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7" name="Oval 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183625" y="3131027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8" name="Oval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261347" y="1661921"/>
            <a:ext cx="3917855" cy="2938217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1" tIns="47495" rIns="91331" bIns="47495" anchor="ctr"/>
          <a:lstStyle>
            <a:lvl1pPr>
              <a:spcBef>
                <a:spcPct val="20000"/>
              </a:spcBef>
              <a:defRPr sz="1600" b="1" i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4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4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40000"/>
              </a:spcBef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b="0" i="0">
              <a:solidFill>
                <a:srgbClr val="003896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331073" y="1003195"/>
            <a:ext cx="10159640" cy="361204"/>
          </a:xfrm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10" name="Freeform 7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207257" y="3130967"/>
            <a:ext cx="1971887" cy="1334670"/>
          </a:xfrm>
          <a:custGeom>
            <a:avLst/>
            <a:gdLst>
              <a:gd name="T0" fmla="*/ 262096340 w 913"/>
              <a:gd name="T1" fmla="*/ 579627938 h 815"/>
              <a:gd name="T2" fmla="*/ 378023568 w 913"/>
              <a:gd name="T3" fmla="*/ 692976809 h 815"/>
              <a:gd name="T4" fmla="*/ 498991110 w 913"/>
              <a:gd name="T5" fmla="*/ 832088028 h 815"/>
              <a:gd name="T6" fmla="*/ 619958651 w 913"/>
              <a:gd name="T7" fmla="*/ 991807840 h 815"/>
              <a:gd name="T8" fmla="*/ 725805250 w 913"/>
              <a:gd name="T9" fmla="*/ 1151527653 h 815"/>
              <a:gd name="T10" fmla="*/ 811490592 w 913"/>
              <a:gd name="T11" fmla="*/ 1311247465 h 815"/>
              <a:gd name="T12" fmla="*/ 879535628 w 913"/>
              <a:gd name="T13" fmla="*/ 1468389598 h 815"/>
              <a:gd name="T14" fmla="*/ 932458134 w 913"/>
              <a:gd name="T15" fmla="*/ 1617805114 h 815"/>
              <a:gd name="T16" fmla="*/ 972780648 w 913"/>
              <a:gd name="T17" fmla="*/ 1764644555 h 815"/>
              <a:gd name="T18" fmla="*/ 997982219 w 913"/>
              <a:gd name="T19" fmla="*/ 1903755774 h 815"/>
              <a:gd name="T20" fmla="*/ 1015624113 w 913"/>
              <a:gd name="T21" fmla="*/ 2011952497 h 815"/>
              <a:gd name="T22" fmla="*/ 1025704741 w 913"/>
              <a:gd name="T23" fmla="*/ 2076355958 h 815"/>
              <a:gd name="T24" fmla="*/ 1028224105 w 913"/>
              <a:gd name="T25" fmla="*/ 2096964552 h 815"/>
              <a:gd name="T26" fmla="*/ 1043345047 w 913"/>
              <a:gd name="T27" fmla="*/ 2086660255 h 815"/>
              <a:gd name="T28" fmla="*/ 1093748190 w 913"/>
              <a:gd name="T29" fmla="*/ 2058323438 h 815"/>
              <a:gd name="T30" fmla="*/ 1176914169 w 913"/>
              <a:gd name="T31" fmla="*/ 2011952497 h 815"/>
              <a:gd name="T32" fmla="*/ 1285280131 w 913"/>
              <a:gd name="T33" fmla="*/ 1947549036 h 815"/>
              <a:gd name="T34" fmla="*/ 1403728309 w 913"/>
              <a:gd name="T35" fmla="*/ 1857384833 h 815"/>
              <a:gd name="T36" fmla="*/ 1534776479 w 913"/>
              <a:gd name="T37" fmla="*/ 1746612036 h 815"/>
              <a:gd name="T38" fmla="*/ 1670864964 w 913"/>
              <a:gd name="T39" fmla="*/ 1615229040 h 815"/>
              <a:gd name="T40" fmla="*/ 1794351869 w 913"/>
              <a:gd name="T41" fmla="*/ 1470967278 h 815"/>
              <a:gd name="T42" fmla="*/ 1907759733 w 913"/>
              <a:gd name="T43" fmla="*/ 1313823539 h 815"/>
              <a:gd name="T44" fmla="*/ 2008566018 w 913"/>
              <a:gd name="T45" fmla="*/ 1146375504 h 815"/>
              <a:gd name="T46" fmla="*/ 2091730409 w 913"/>
              <a:gd name="T47" fmla="*/ 984079617 h 815"/>
              <a:gd name="T48" fmla="*/ 2147483646 w 913"/>
              <a:gd name="T49" fmla="*/ 829511953 h 815"/>
              <a:gd name="T50" fmla="*/ 2147483646 w 913"/>
              <a:gd name="T51" fmla="*/ 685248586 h 815"/>
              <a:gd name="T52" fmla="*/ 2147483646 w 913"/>
              <a:gd name="T53" fmla="*/ 556443270 h 815"/>
              <a:gd name="T54" fmla="*/ 2147483646 w 913"/>
              <a:gd name="T55" fmla="*/ 453397090 h 815"/>
              <a:gd name="T56" fmla="*/ 2147483646 w 913"/>
              <a:gd name="T57" fmla="*/ 370961110 h 815"/>
              <a:gd name="T58" fmla="*/ 2147483646 w 913"/>
              <a:gd name="T59" fmla="*/ 311711402 h 815"/>
              <a:gd name="T60" fmla="*/ 2147483646 w 913"/>
              <a:gd name="T61" fmla="*/ 273068684 h 815"/>
              <a:gd name="T62" fmla="*/ 2147483646 w 913"/>
              <a:gd name="T63" fmla="*/ 257612238 h 815"/>
              <a:gd name="T64" fmla="*/ 2147483646 w 913"/>
              <a:gd name="T65" fmla="*/ 249884016 h 815"/>
              <a:gd name="T66" fmla="*/ 2147483646 w 913"/>
              <a:gd name="T67" fmla="*/ 231851496 h 815"/>
              <a:gd name="T68" fmla="*/ 2147483646 w 913"/>
              <a:gd name="T69" fmla="*/ 200937000 h 815"/>
              <a:gd name="T70" fmla="*/ 2099291674 w 913"/>
              <a:gd name="T71" fmla="*/ 159719813 h 815"/>
              <a:gd name="T72" fmla="*/ 1985883810 w 913"/>
              <a:gd name="T73" fmla="*/ 118501020 h 815"/>
              <a:gd name="T74" fmla="*/ 1852316276 w 913"/>
              <a:gd name="T75" fmla="*/ 79859906 h 815"/>
              <a:gd name="T76" fmla="*/ 1696066535 w 913"/>
              <a:gd name="T77" fmla="*/ 41217188 h 815"/>
              <a:gd name="T78" fmla="*/ 1527215214 w 913"/>
              <a:gd name="T79" fmla="*/ 15456445 h 815"/>
              <a:gd name="T80" fmla="*/ 1345763902 w 913"/>
              <a:gd name="T81" fmla="*/ 2576074 h 815"/>
              <a:gd name="T82" fmla="*/ 1156752912 w 913"/>
              <a:gd name="T83" fmla="*/ 2576074 h 815"/>
              <a:gd name="T84" fmla="*/ 967740334 w 913"/>
              <a:gd name="T85" fmla="*/ 15456445 h 815"/>
              <a:gd name="T86" fmla="*/ 788809972 w 913"/>
              <a:gd name="T87" fmla="*/ 46370941 h 815"/>
              <a:gd name="T88" fmla="*/ 619958651 w 913"/>
              <a:gd name="T89" fmla="*/ 90164203 h 815"/>
              <a:gd name="T90" fmla="*/ 463708910 w 913"/>
              <a:gd name="T91" fmla="*/ 144263367 h 815"/>
              <a:gd name="T92" fmla="*/ 325101062 w 913"/>
              <a:gd name="T93" fmla="*/ 203513074 h 815"/>
              <a:gd name="T94" fmla="*/ 201612570 w 913"/>
              <a:gd name="T95" fmla="*/ 265340461 h 815"/>
              <a:gd name="T96" fmla="*/ 100806285 w 913"/>
              <a:gd name="T97" fmla="*/ 322015699 h 815"/>
              <a:gd name="T98" fmla="*/ 32762836 w 913"/>
              <a:gd name="T99" fmla="*/ 360656813 h 815"/>
              <a:gd name="T100" fmla="*/ 2520951 w 913"/>
              <a:gd name="T101" fmla="*/ 378690937 h 815"/>
              <a:gd name="T102" fmla="*/ 5040314 w 913"/>
              <a:gd name="T103" fmla="*/ 383843086 h 815"/>
              <a:gd name="T104" fmla="*/ 42843465 w 913"/>
              <a:gd name="T105" fmla="*/ 412179902 h 815"/>
              <a:gd name="T106" fmla="*/ 113407864 w 913"/>
              <a:gd name="T107" fmla="*/ 463702992 h 81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3" h="815">
                <a:moveTo>
                  <a:pt x="69" y="197"/>
                </a:moveTo>
                <a:lnTo>
                  <a:pt x="77" y="203"/>
                </a:lnTo>
                <a:lnTo>
                  <a:pt x="86" y="210"/>
                </a:lnTo>
                <a:lnTo>
                  <a:pt x="95" y="217"/>
                </a:lnTo>
                <a:lnTo>
                  <a:pt x="104" y="225"/>
                </a:lnTo>
                <a:lnTo>
                  <a:pt x="113" y="233"/>
                </a:lnTo>
                <a:lnTo>
                  <a:pt x="122" y="241"/>
                </a:lnTo>
                <a:lnTo>
                  <a:pt x="131" y="250"/>
                </a:lnTo>
                <a:lnTo>
                  <a:pt x="140" y="259"/>
                </a:lnTo>
                <a:lnTo>
                  <a:pt x="150" y="269"/>
                </a:lnTo>
                <a:lnTo>
                  <a:pt x="159" y="279"/>
                </a:lnTo>
                <a:lnTo>
                  <a:pt x="169" y="289"/>
                </a:lnTo>
                <a:lnTo>
                  <a:pt x="178" y="300"/>
                </a:lnTo>
                <a:lnTo>
                  <a:pt x="188" y="311"/>
                </a:lnTo>
                <a:lnTo>
                  <a:pt x="198" y="323"/>
                </a:lnTo>
                <a:lnTo>
                  <a:pt x="208" y="335"/>
                </a:lnTo>
                <a:lnTo>
                  <a:pt x="218" y="347"/>
                </a:lnTo>
                <a:lnTo>
                  <a:pt x="227" y="360"/>
                </a:lnTo>
                <a:lnTo>
                  <a:pt x="237" y="372"/>
                </a:lnTo>
                <a:lnTo>
                  <a:pt x="246" y="385"/>
                </a:lnTo>
                <a:lnTo>
                  <a:pt x="255" y="397"/>
                </a:lnTo>
                <a:lnTo>
                  <a:pt x="264" y="410"/>
                </a:lnTo>
                <a:lnTo>
                  <a:pt x="272" y="422"/>
                </a:lnTo>
                <a:lnTo>
                  <a:pt x="280" y="435"/>
                </a:lnTo>
                <a:lnTo>
                  <a:pt x="288" y="447"/>
                </a:lnTo>
                <a:lnTo>
                  <a:pt x="295" y="460"/>
                </a:lnTo>
                <a:lnTo>
                  <a:pt x="302" y="472"/>
                </a:lnTo>
                <a:lnTo>
                  <a:pt x="309" y="484"/>
                </a:lnTo>
                <a:lnTo>
                  <a:pt x="316" y="497"/>
                </a:lnTo>
                <a:lnTo>
                  <a:pt x="322" y="509"/>
                </a:lnTo>
                <a:lnTo>
                  <a:pt x="328" y="521"/>
                </a:lnTo>
                <a:lnTo>
                  <a:pt x="334" y="533"/>
                </a:lnTo>
                <a:lnTo>
                  <a:pt x="339" y="546"/>
                </a:lnTo>
                <a:lnTo>
                  <a:pt x="344" y="558"/>
                </a:lnTo>
                <a:lnTo>
                  <a:pt x="349" y="570"/>
                </a:lnTo>
                <a:lnTo>
                  <a:pt x="354" y="582"/>
                </a:lnTo>
                <a:lnTo>
                  <a:pt x="358" y="593"/>
                </a:lnTo>
                <a:lnTo>
                  <a:pt x="363" y="605"/>
                </a:lnTo>
                <a:lnTo>
                  <a:pt x="367" y="617"/>
                </a:lnTo>
                <a:lnTo>
                  <a:pt x="370" y="628"/>
                </a:lnTo>
                <a:lnTo>
                  <a:pt x="374" y="640"/>
                </a:lnTo>
                <a:lnTo>
                  <a:pt x="377" y="651"/>
                </a:lnTo>
                <a:lnTo>
                  <a:pt x="380" y="663"/>
                </a:lnTo>
                <a:lnTo>
                  <a:pt x="383" y="674"/>
                </a:lnTo>
                <a:lnTo>
                  <a:pt x="386" y="685"/>
                </a:lnTo>
                <a:lnTo>
                  <a:pt x="388" y="696"/>
                </a:lnTo>
                <a:lnTo>
                  <a:pt x="391" y="707"/>
                </a:lnTo>
                <a:lnTo>
                  <a:pt x="393" y="718"/>
                </a:lnTo>
                <a:lnTo>
                  <a:pt x="394" y="728"/>
                </a:lnTo>
                <a:lnTo>
                  <a:pt x="396" y="739"/>
                </a:lnTo>
                <a:lnTo>
                  <a:pt x="398" y="748"/>
                </a:lnTo>
                <a:lnTo>
                  <a:pt x="399" y="757"/>
                </a:lnTo>
                <a:lnTo>
                  <a:pt x="400" y="766"/>
                </a:lnTo>
                <a:lnTo>
                  <a:pt x="402" y="773"/>
                </a:lnTo>
                <a:lnTo>
                  <a:pt x="403" y="781"/>
                </a:lnTo>
                <a:lnTo>
                  <a:pt x="404" y="787"/>
                </a:lnTo>
                <a:lnTo>
                  <a:pt x="404" y="793"/>
                </a:lnTo>
                <a:lnTo>
                  <a:pt x="405" y="798"/>
                </a:lnTo>
                <a:lnTo>
                  <a:pt x="406" y="802"/>
                </a:lnTo>
                <a:lnTo>
                  <a:pt x="407" y="806"/>
                </a:lnTo>
                <a:lnTo>
                  <a:pt x="407" y="809"/>
                </a:lnTo>
                <a:lnTo>
                  <a:pt x="407" y="811"/>
                </a:lnTo>
                <a:lnTo>
                  <a:pt x="408" y="813"/>
                </a:lnTo>
                <a:lnTo>
                  <a:pt x="408" y="814"/>
                </a:lnTo>
                <a:lnTo>
                  <a:pt x="409" y="813"/>
                </a:lnTo>
                <a:lnTo>
                  <a:pt x="410" y="813"/>
                </a:lnTo>
                <a:lnTo>
                  <a:pt x="412" y="812"/>
                </a:lnTo>
                <a:lnTo>
                  <a:pt x="414" y="810"/>
                </a:lnTo>
                <a:lnTo>
                  <a:pt x="417" y="809"/>
                </a:lnTo>
                <a:lnTo>
                  <a:pt x="421" y="807"/>
                </a:lnTo>
                <a:lnTo>
                  <a:pt x="425" y="805"/>
                </a:lnTo>
                <a:lnTo>
                  <a:pt x="429" y="802"/>
                </a:lnTo>
                <a:lnTo>
                  <a:pt x="434" y="799"/>
                </a:lnTo>
                <a:lnTo>
                  <a:pt x="440" y="796"/>
                </a:lnTo>
                <a:lnTo>
                  <a:pt x="446" y="793"/>
                </a:lnTo>
                <a:lnTo>
                  <a:pt x="452" y="789"/>
                </a:lnTo>
                <a:lnTo>
                  <a:pt x="459" y="786"/>
                </a:lnTo>
                <a:lnTo>
                  <a:pt x="467" y="781"/>
                </a:lnTo>
                <a:lnTo>
                  <a:pt x="475" y="777"/>
                </a:lnTo>
                <a:lnTo>
                  <a:pt x="484" y="772"/>
                </a:lnTo>
                <a:lnTo>
                  <a:pt x="492" y="767"/>
                </a:lnTo>
                <a:lnTo>
                  <a:pt x="501" y="761"/>
                </a:lnTo>
                <a:lnTo>
                  <a:pt x="510" y="756"/>
                </a:lnTo>
                <a:lnTo>
                  <a:pt x="519" y="749"/>
                </a:lnTo>
                <a:lnTo>
                  <a:pt x="529" y="743"/>
                </a:lnTo>
                <a:lnTo>
                  <a:pt x="538" y="736"/>
                </a:lnTo>
                <a:lnTo>
                  <a:pt x="548" y="729"/>
                </a:lnTo>
                <a:lnTo>
                  <a:pt x="557" y="721"/>
                </a:lnTo>
                <a:lnTo>
                  <a:pt x="567" y="713"/>
                </a:lnTo>
                <a:lnTo>
                  <a:pt x="578" y="705"/>
                </a:lnTo>
                <a:lnTo>
                  <a:pt x="588" y="696"/>
                </a:lnTo>
                <a:lnTo>
                  <a:pt x="598" y="687"/>
                </a:lnTo>
                <a:lnTo>
                  <a:pt x="609" y="678"/>
                </a:lnTo>
                <a:lnTo>
                  <a:pt x="620" y="668"/>
                </a:lnTo>
                <a:lnTo>
                  <a:pt x="630" y="658"/>
                </a:lnTo>
                <a:lnTo>
                  <a:pt x="641" y="648"/>
                </a:lnTo>
                <a:lnTo>
                  <a:pt x="652" y="637"/>
                </a:lnTo>
                <a:lnTo>
                  <a:pt x="663" y="627"/>
                </a:lnTo>
                <a:lnTo>
                  <a:pt x="673" y="616"/>
                </a:lnTo>
                <a:lnTo>
                  <a:pt x="683" y="605"/>
                </a:lnTo>
                <a:lnTo>
                  <a:pt x="693" y="594"/>
                </a:lnTo>
                <a:lnTo>
                  <a:pt x="703" y="582"/>
                </a:lnTo>
                <a:lnTo>
                  <a:pt x="712" y="571"/>
                </a:lnTo>
                <a:lnTo>
                  <a:pt x="722" y="559"/>
                </a:lnTo>
                <a:lnTo>
                  <a:pt x="731" y="547"/>
                </a:lnTo>
                <a:lnTo>
                  <a:pt x="740" y="535"/>
                </a:lnTo>
                <a:lnTo>
                  <a:pt x="749" y="522"/>
                </a:lnTo>
                <a:lnTo>
                  <a:pt x="757" y="510"/>
                </a:lnTo>
                <a:lnTo>
                  <a:pt x="766" y="497"/>
                </a:lnTo>
                <a:lnTo>
                  <a:pt x="774" y="484"/>
                </a:lnTo>
                <a:lnTo>
                  <a:pt x="782" y="471"/>
                </a:lnTo>
                <a:lnTo>
                  <a:pt x="790" y="458"/>
                </a:lnTo>
                <a:lnTo>
                  <a:pt x="797" y="445"/>
                </a:lnTo>
                <a:lnTo>
                  <a:pt x="804" y="432"/>
                </a:lnTo>
                <a:lnTo>
                  <a:pt x="811" y="420"/>
                </a:lnTo>
                <a:lnTo>
                  <a:pt x="818" y="407"/>
                </a:lnTo>
                <a:lnTo>
                  <a:pt x="824" y="395"/>
                </a:lnTo>
                <a:lnTo>
                  <a:pt x="830" y="382"/>
                </a:lnTo>
                <a:lnTo>
                  <a:pt x="836" y="370"/>
                </a:lnTo>
                <a:lnTo>
                  <a:pt x="841" y="358"/>
                </a:lnTo>
                <a:lnTo>
                  <a:pt x="846" y="346"/>
                </a:lnTo>
                <a:lnTo>
                  <a:pt x="851" y="334"/>
                </a:lnTo>
                <a:lnTo>
                  <a:pt x="856" y="322"/>
                </a:lnTo>
                <a:lnTo>
                  <a:pt x="860" y="311"/>
                </a:lnTo>
                <a:lnTo>
                  <a:pt x="864" y="299"/>
                </a:lnTo>
                <a:lnTo>
                  <a:pt x="868" y="288"/>
                </a:lnTo>
                <a:lnTo>
                  <a:pt x="871" y="277"/>
                </a:lnTo>
                <a:lnTo>
                  <a:pt x="874" y="266"/>
                </a:lnTo>
                <a:lnTo>
                  <a:pt x="877" y="255"/>
                </a:lnTo>
                <a:lnTo>
                  <a:pt x="880" y="245"/>
                </a:lnTo>
                <a:lnTo>
                  <a:pt x="883" y="235"/>
                </a:lnTo>
                <a:lnTo>
                  <a:pt x="885" y="226"/>
                </a:lnTo>
                <a:lnTo>
                  <a:pt x="887" y="216"/>
                </a:lnTo>
                <a:lnTo>
                  <a:pt x="890" y="208"/>
                </a:lnTo>
                <a:lnTo>
                  <a:pt x="892" y="199"/>
                </a:lnTo>
                <a:lnTo>
                  <a:pt x="894" y="191"/>
                </a:lnTo>
                <a:lnTo>
                  <a:pt x="896" y="183"/>
                </a:lnTo>
                <a:lnTo>
                  <a:pt x="897" y="176"/>
                </a:lnTo>
                <a:lnTo>
                  <a:pt x="899" y="169"/>
                </a:lnTo>
                <a:lnTo>
                  <a:pt x="900" y="162"/>
                </a:lnTo>
                <a:lnTo>
                  <a:pt x="901" y="156"/>
                </a:lnTo>
                <a:lnTo>
                  <a:pt x="903" y="150"/>
                </a:lnTo>
                <a:lnTo>
                  <a:pt x="904" y="144"/>
                </a:lnTo>
                <a:lnTo>
                  <a:pt x="904" y="139"/>
                </a:lnTo>
                <a:lnTo>
                  <a:pt x="905" y="134"/>
                </a:lnTo>
                <a:lnTo>
                  <a:pt x="906" y="129"/>
                </a:lnTo>
                <a:lnTo>
                  <a:pt x="907" y="125"/>
                </a:lnTo>
                <a:lnTo>
                  <a:pt x="907" y="121"/>
                </a:lnTo>
                <a:lnTo>
                  <a:pt x="908" y="117"/>
                </a:lnTo>
                <a:lnTo>
                  <a:pt x="909" y="114"/>
                </a:lnTo>
                <a:lnTo>
                  <a:pt x="909" y="111"/>
                </a:lnTo>
                <a:lnTo>
                  <a:pt x="910" y="109"/>
                </a:lnTo>
                <a:lnTo>
                  <a:pt x="910" y="106"/>
                </a:lnTo>
                <a:lnTo>
                  <a:pt x="910" y="104"/>
                </a:lnTo>
                <a:lnTo>
                  <a:pt x="911" y="103"/>
                </a:lnTo>
                <a:lnTo>
                  <a:pt x="911" y="101"/>
                </a:lnTo>
                <a:lnTo>
                  <a:pt x="911" y="100"/>
                </a:lnTo>
                <a:lnTo>
                  <a:pt x="912" y="100"/>
                </a:lnTo>
                <a:lnTo>
                  <a:pt x="912" y="99"/>
                </a:lnTo>
                <a:lnTo>
                  <a:pt x="911" y="99"/>
                </a:lnTo>
                <a:lnTo>
                  <a:pt x="910" y="98"/>
                </a:lnTo>
                <a:lnTo>
                  <a:pt x="909" y="97"/>
                </a:lnTo>
                <a:lnTo>
                  <a:pt x="907" y="96"/>
                </a:lnTo>
                <a:lnTo>
                  <a:pt x="904" y="95"/>
                </a:lnTo>
                <a:lnTo>
                  <a:pt x="902" y="94"/>
                </a:lnTo>
                <a:lnTo>
                  <a:pt x="898" y="92"/>
                </a:lnTo>
                <a:lnTo>
                  <a:pt x="895" y="90"/>
                </a:lnTo>
                <a:lnTo>
                  <a:pt x="891" y="88"/>
                </a:lnTo>
                <a:lnTo>
                  <a:pt x="886" y="86"/>
                </a:lnTo>
                <a:lnTo>
                  <a:pt x="881" y="84"/>
                </a:lnTo>
                <a:lnTo>
                  <a:pt x="875" y="81"/>
                </a:lnTo>
                <a:lnTo>
                  <a:pt x="869" y="78"/>
                </a:lnTo>
                <a:lnTo>
                  <a:pt x="863" y="75"/>
                </a:lnTo>
                <a:lnTo>
                  <a:pt x="856" y="72"/>
                </a:lnTo>
                <a:lnTo>
                  <a:pt x="849" y="69"/>
                </a:lnTo>
                <a:lnTo>
                  <a:pt x="841" y="65"/>
                </a:lnTo>
                <a:lnTo>
                  <a:pt x="833" y="62"/>
                </a:lnTo>
                <a:lnTo>
                  <a:pt x="825" y="59"/>
                </a:lnTo>
                <a:lnTo>
                  <a:pt x="816" y="56"/>
                </a:lnTo>
                <a:lnTo>
                  <a:pt x="807" y="52"/>
                </a:lnTo>
                <a:lnTo>
                  <a:pt x="798" y="49"/>
                </a:lnTo>
                <a:lnTo>
                  <a:pt x="788" y="46"/>
                </a:lnTo>
                <a:lnTo>
                  <a:pt x="778" y="43"/>
                </a:lnTo>
                <a:lnTo>
                  <a:pt x="768" y="40"/>
                </a:lnTo>
                <a:lnTo>
                  <a:pt x="757" y="37"/>
                </a:lnTo>
                <a:lnTo>
                  <a:pt x="746" y="34"/>
                </a:lnTo>
                <a:lnTo>
                  <a:pt x="735" y="31"/>
                </a:lnTo>
                <a:lnTo>
                  <a:pt x="723" y="28"/>
                </a:lnTo>
                <a:lnTo>
                  <a:pt x="711" y="25"/>
                </a:lnTo>
                <a:lnTo>
                  <a:pt x="699" y="22"/>
                </a:lnTo>
                <a:lnTo>
                  <a:pt x="686" y="19"/>
                </a:lnTo>
                <a:lnTo>
                  <a:pt x="673" y="16"/>
                </a:lnTo>
                <a:lnTo>
                  <a:pt x="660" y="14"/>
                </a:lnTo>
                <a:lnTo>
                  <a:pt x="647" y="12"/>
                </a:lnTo>
                <a:lnTo>
                  <a:pt x="633" y="10"/>
                </a:lnTo>
                <a:lnTo>
                  <a:pt x="620" y="8"/>
                </a:lnTo>
                <a:lnTo>
                  <a:pt x="606" y="6"/>
                </a:lnTo>
                <a:lnTo>
                  <a:pt x="592" y="5"/>
                </a:lnTo>
                <a:lnTo>
                  <a:pt x="578" y="4"/>
                </a:lnTo>
                <a:lnTo>
                  <a:pt x="564" y="3"/>
                </a:lnTo>
                <a:lnTo>
                  <a:pt x="549" y="2"/>
                </a:lnTo>
                <a:lnTo>
                  <a:pt x="534" y="1"/>
                </a:lnTo>
                <a:lnTo>
                  <a:pt x="520" y="1"/>
                </a:lnTo>
                <a:lnTo>
                  <a:pt x="505" y="0"/>
                </a:lnTo>
                <a:lnTo>
                  <a:pt x="489" y="0"/>
                </a:lnTo>
                <a:lnTo>
                  <a:pt x="474" y="1"/>
                </a:lnTo>
                <a:lnTo>
                  <a:pt x="459" y="1"/>
                </a:lnTo>
                <a:lnTo>
                  <a:pt x="443" y="2"/>
                </a:lnTo>
                <a:lnTo>
                  <a:pt x="428" y="2"/>
                </a:lnTo>
                <a:lnTo>
                  <a:pt x="413" y="4"/>
                </a:lnTo>
                <a:lnTo>
                  <a:pt x="399" y="5"/>
                </a:lnTo>
                <a:lnTo>
                  <a:pt x="384" y="6"/>
                </a:lnTo>
                <a:lnTo>
                  <a:pt x="370" y="8"/>
                </a:lnTo>
                <a:lnTo>
                  <a:pt x="355" y="10"/>
                </a:lnTo>
                <a:lnTo>
                  <a:pt x="341" y="13"/>
                </a:lnTo>
                <a:lnTo>
                  <a:pt x="327" y="15"/>
                </a:lnTo>
                <a:lnTo>
                  <a:pt x="313" y="18"/>
                </a:lnTo>
                <a:lnTo>
                  <a:pt x="300" y="21"/>
                </a:lnTo>
                <a:lnTo>
                  <a:pt x="286" y="24"/>
                </a:lnTo>
                <a:lnTo>
                  <a:pt x="273" y="28"/>
                </a:lnTo>
                <a:lnTo>
                  <a:pt x="259" y="31"/>
                </a:lnTo>
                <a:lnTo>
                  <a:pt x="246" y="35"/>
                </a:lnTo>
                <a:lnTo>
                  <a:pt x="233" y="39"/>
                </a:lnTo>
                <a:lnTo>
                  <a:pt x="221" y="44"/>
                </a:lnTo>
                <a:lnTo>
                  <a:pt x="208" y="48"/>
                </a:lnTo>
                <a:lnTo>
                  <a:pt x="196" y="52"/>
                </a:lnTo>
                <a:lnTo>
                  <a:pt x="184" y="56"/>
                </a:lnTo>
                <a:lnTo>
                  <a:pt x="173" y="61"/>
                </a:lnTo>
                <a:lnTo>
                  <a:pt x="161" y="65"/>
                </a:lnTo>
                <a:lnTo>
                  <a:pt x="150" y="70"/>
                </a:lnTo>
                <a:lnTo>
                  <a:pt x="139" y="74"/>
                </a:lnTo>
                <a:lnTo>
                  <a:pt x="129" y="79"/>
                </a:lnTo>
                <a:lnTo>
                  <a:pt x="118" y="84"/>
                </a:lnTo>
                <a:lnTo>
                  <a:pt x="108" y="88"/>
                </a:lnTo>
                <a:lnTo>
                  <a:pt x="99" y="93"/>
                </a:lnTo>
                <a:lnTo>
                  <a:pt x="89" y="98"/>
                </a:lnTo>
                <a:lnTo>
                  <a:pt x="80" y="103"/>
                </a:lnTo>
                <a:lnTo>
                  <a:pt x="71" y="108"/>
                </a:lnTo>
                <a:lnTo>
                  <a:pt x="62" y="113"/>
                </a:lnTo>
                <a:lnTo>
                  <a:pt x="54" y="117"/>
                </a:lnTo>
                <a:lnTo>
                  <a:pt x="47" y="121"/>
                </a:lnTo>
                <a:lnTo>
                  <a:pt x="40" y="125"/>
                </a:lnTo>
                <a:lnTo>
                  <a:pt x="33" y="129"/>
                </a:lnTo>
                <a:lnTo>
                  <a:pt x="27" y="132"/>
                </a:lnTo>
                <a:lnTo>
                  <a:pt x="22" y="135"/>
                </a:lnTo>
                <a:lnTo>
                  <a:pt x="17" y="138"/>
                </a:lnTo>
                <a:lnTo>
                  <a:pt x="13" y="140"/>
                </a:lnTo>
                <a:lnTo>
                  <a:pt x="10" y="142"/>
                </a:lnTo>
                <a:lnTo>
                  <a:pt x="7" y="144"/>
                </a:lnTo>
                <a:lnTo>
                  <a:pt x="4" y="145"/>
                </a:lnTo>
                <a:lnTo>
                  <a:pt x="2" y="146"/>
                </a:lnTo>
                <a:lnTo>
                  <a:pt x="1" y="147"/>
                </a:lnTo>
                <a:lnTo>
                  <a:pt x="0" y="148"/>
                </a:lnTo>
                <a:lnTo>
                  <a:pt x="1" y="149"/>
                </a:lnTo>
                <a:lnTo>
                  <a:pt x="2" y="149"/>
                </a:lnTo>
                <a:lnTo>
                  <a:pt x="4" y="151"/>
                </a:lnTo>
                <a:lnTo>
                  <a:pt x="6" y="153"/>
                </a:lnTo>
                <a:lnTo>
                  <a:pt x="9" y="155"/>
                </a:lnTo>
                <a:lnTo>
                  <a:pt x="13" y="157"/>
                </a:lnTo>
                <a:lnTo>
                  <a:pt x="17" y="160"/>
                </a:lnTo>
                <a:lnTo>
                  <a:pt x="21" y="163"/>
                </a:lnTo>
                <a:lnTo>
                  <a:pt x="27" y="167"/>
                </a:lnTo>
                <a:lnTo>
                  <a:pt x="32" y="171"/>
                </a:lnTo>
                <a:lnTo>
                  <a:pt x="38" y="175"/>
                </a:lnTo>
                <a:lnTo>
                  <a:pt x="45" y="180"/>
                </a:lnTo>
                <a:lnTo>
                  <a:pt x="53" y="185"/>
                </a:lnTo>
                <a:lnTo>
                  <a:pt x="60" y="191"/>
                </a:lnTo>
                <a:lnTo>
                  <a:pt x="69" y="197"/>
                </a:lnTo>
                <a:close/>
              </a:path>
            </a:pathLst>
          </a:custGeom>
          <a:solidFill>
            <a:srgbClr val="80808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1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261311" y="3130967"/>
            <a:ext cx="1958927" cy="1333050"/>
          </a:xfrm>
          <a:custGeom>
            <a:avLst/>
            <a:gdLst>
              <a:gd name="T0" fmla="*/ 2040924568 w 911"/>
              <a:gd name="T1" fmla="*/ 556456943 h 814"/>
              <a:gd name="T2" fmla="*/ 1938504703 w 911"/>
              <a:gd name="T3" fmla="*/ 656928358 h 814"/>
              <a:gd name="T4" fmla="*/ 1826091152 w 911"/>
              <a:gd name="T5" fmla="*/ 778010240 h 814"/>
              <a:gd name="T6" fmla="*/ 1708681549 w 911"/>
              <a:gd name="T7" fmla="*/ 922275488 h 814"/>
              <a:gd name="T8" fmla="*/ 1603762867 w 911"/>
              <a:gd name="T9" fmla="*/ 1079424485 h 814"/>
              <a:gd name="T10" fmla="*/ 1508836289 w 911"/>
              <a:gd name="T11" fmla="*/ 1249452416 h 814"/>
              <a:gd name="T12" fmla="*/ 1426399053 w 911"/>
              <a:gd name="T13" fmla="*/ 1429786383 h 814"/>
              <a:gd name="T14" fmla="*/ 1358951555 w 911"/>
              <a:gd name="T15" fmla="*/ 1599814314 h 814"/>
              <a:gd name="T16" fmla="*/ 1313985502 w 911"/>
              <a:gd name="T17" fmla="*/ 1756961705 h 814"/>
              <a:gd name="T18" fmla="*/ 1284009188 w 911"/>
              <a:gd name="T19" fmla="*/ 1898652450 h 814"/>
              <a:gd name="T20" fmla="*/ 1266522214 w 911"/>
              <a:gd name="T21" fmla="*/ 2006852189 h 814"/>
              <a:gd name="T22" fmla="*/ 1254032873 w 911"/>
              <a:gd name="T23" fmla="*/ 2073834202 h 814"/>
              <a:gd name="T24" fmla="*/ 1251534056 w 911"/>
              <a:gd name="T25" fmla="*/ 2094443064 h 814"/>
              <a:gd name="T26" fmla="*/ 1234047083 w 911"/>
              <a:gd name="T27" fmla="*/ 2084138633 h 814"/>
              <a:gd name="T28" fmla="*/ 1184086558 w 911"/>
              <a:gd name="T29" fmla="*/ 2055799842 h 814"/>
              <a:gd name="T30" fmla="*/ 1104148138 w 911"/>
              <a:gd name="T31" fmla="*/ 2009428296 h 814"/>
              <a:gd name="T32" fmla="*/ 996730640 w 911"/>
              <a:gd name="T33" fmla="*/ 1945023996 h 814"/>
              <a:gd name="T34" fmla="*/ 881819853 w 911"/>
              <a:gd name="T35" fmla="*/ 1857433120 h 814"/>
              <a:gd name="T36" fmla="*/ 754418145 w 911"/>
              <a:gd name="T37" fmla="*/ 1749233382 h 814"/>
              <a:gd name="T38" fmla="*/ 622020384 w 911"/>
              <a:gd name="T39" fmla="*/ 1620423176 h 814"/>
              <a:gd name="T40" fmla="*/ 499614728 w 911"/>
              <a:gd name="T41" fmla="*/ 1478734036 h 814"/>
              <a:gd name="T42" fmla="*/ 389699994 w 911"/>
              <a:gd name="T43" fmla="*/ 1324162752 h 814"/>
              <a:gd name="T44" fmla="*/ 294771836 w 911"/>
              <a:gd name="T45" fmla="*/ 1159285432 h 814"/>
              <a:gd name="T46" fmla="*/ 212336180 w 911"/>
              <a:gd name="T47" fmla="*/ 996985825 h 814"/>
              <a:gd name="T48" fmla="*/ 147385918 w 911"/>
              <a:gd name="T49" fmla="*/ 839838433 h 814"/>
              <a:gd name="T50" fmla="*/ 94926577 w 911"/>
              <a:gd name="T51" fmla="*/ 687843257 h 814"/>
              <a:gd name="T52" fmla="*/ 57455393 w 911"/>
              <a:gd name="T53" fmla="*/ 553880835 h 814"/>
              <a:gd name="T54" fmla="*/ 29976315 w 911"/>
              <a:gd name="T55" fmla="*/ 445681097 h 814"/>
              <a:gd name="T56" fmla="*/ 17486974 w 911"/>
              <a:gd name="T57" fmla="*/ 360666329 h 814"/>
              <a:gd name="T58" fmla="*/ 7494869 w 911"/>
              <a:gd name="T59" fmla="*/ 298838137 h 814"/>
              <a:gd name="T60" fmla="*/ 2498816 w 911"/>
              <a:gd name="T61" fmla="*/ 262771022 h 814"/>
              <a:gd name="T62" fmla="*/ 0 w 911"/>
              <a:gd name="T63" fmla="*/ 247314375 h 814"/>
              <a:gd name="T64" fmla="*/ 7494869 w 911"/>
              <a:gd name="T65" fmla="*/ 242162160 h 814"/>
              <a:gd name="T66" fmla="*/ 42467236 w 911"/>
              <a:gd name="T67" fmla="*/ 224127800 h 814"/>
              <a:gd name="T68" fmla="*/ 107417498 w 911"/>
              <a:gd name="T69" fmla="*/ 195790614 h 814"/>
              <a:gd name="T70" fmla="*/ 197348023 w 911"/>
              <a:gd name="T71" fmla="*/ 157147392 h 814"/>
              <a:gd name="T72" fmla="*/ 309761574 w 911"/>
              <a:gd name="T73" fmla="*/ 118504170 h 814"/>
              <a:gd name="T74" fmla="*/ 444656571 w 911"/>
              <a:gd name="T75" fmla="*/ 79862552 h 814"/>
              <a:gd name="T76" fmla="*/ 602036174 w 911"/>
              <a:gd name="T77" fmla="*/ 41219330 h 814"/>
              <a:gd name="T78" fmla="*/ 769406302 w 911"/>
              <a:gd name="T79" fmla="*/ 15456647 h 814"/>
              <a:gd name="T80" fmla="*/ 946770115 w 911"/>
              <a:gd name="T81" fmla="*/ 2576108 h 814"/>
              <a:gd name="T82" fmla="*/ 1136623270 w 911"/>
              <a:gd name="T83" fmla="*/ 2576108 h 814"/>
              <a:gd name="T84" fmla="*/ 1321480371 w 911"/>
              <a:gd name="T85" fmla="*/ 15456647 h 814"/>
              <a:gd name="T86" fmla="*/ 1498842604 w 911"/>
              <a:gd name="T87" fmla="*/ 46371546 h 814"/>
              <a:gd name="T88" fmla="*/ 1666214312 w 911"/>
              <a:gd name="T89" fmla="*/ 90166984 h 814"/>
              <a:gd name="T90" fmla="*/ 1818596283 w 911"/>
              <a:gd name="T91" fmla="*/ 144266853 h 814"/>
              <a:gd name="T92" fmla="*/ 1955990096 w 911"/>
              <a:gd name="T93" fmla="*/ 203518937 h 814"/>
              <a:gd name="T94" fmla="*/ 2075898516 w 911"/>
              <a:gd name="T95" fmla="*/ 265347130 h 814"/>
              <a:gd name="T96" fmla="*/ 2147483646 w 911"/>
              <a:gd name="T97" fmla="*/ 322023107 h 814"/>
              <a:gd name="T98" fmla="*/ 2147483646 w 911"/>
              <a:gd name="T99" fmla="*/ 360666329 h 814"/>
              <a:gd name="T100" fmla="*/ 2147483646 w 911"/>
              <a:gd name="T101" fmla="*/ 378700689 h 814"/>
              <a:gd name="T102" fmla="*/ 2147483646 w 911"/>
              <a:gd name="T103" fmla="*/ 383852905 h 814"/>
              <a:gd name="T104" fmla="*/ 2147483646 w 911"/>
              <a:gd name="T105" fmla="*/ 407037875 h 814"/>
              <a:gd name="T106" fmla="*/ 2147483646 w 911"/>
              <a:gd name="T107" fmla="*/ 453409421 h 81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11" h="814">
                <a:moveTo>
                  <a:pt x="849" y="191"/>
                </a:moveTo>
                <a:lnTo>
                  <a:pt x="841" y="197"/>
                </a:lnTo>
                <a:lnTo>
                  <a:pt x="833" y="203"/>
                </a:lnTo>
                <a:lnTo>
                  <a:pt x="825" y="209"/>
                </a:lnTo>
                <a:lnTo>
                  <a:pt x="817" y="216"/>
                </a:lnTo>
                <a:lnTo>
                  <a:pt x="809" y="223"/>
                </a:lnTo>
                <a:lnTo>
                  <a:pt x="801" y="230"/>
                </a:lnTo>
                <a:lnTo>
                  <a:pt x="793" y="238"/>
                </a:lnTo>
                <a:lnTo>
                  <a:pt x="784" y="246"/>
                </a:lnTo>
                <a:lnTo>
                  <a:pt x="776" y="255"/>
                </a:lnTo>
                <a:lnTo>
                  <a:pt x="767" y="263"/>
                </a:lnTo>
                <a:lnTo>
                  <a:pt x="758" y="273"/>
                </a:lnTo>
                <a:lnTo>
                  <a:pt x="749" y="282"/>
                </a:lnTo>
                <a:lnTo>
                  <a:pt x="740" y="292"/>
                </a:lnTo>
                <a:lnTo>
                  <a:pt x="731" y="302"/>
                </a:lnTo>
                <a:lnTo>
                  <a:pt x="721" y="313"/>
                </a:lnTo>
                <a:lnTo>
                  <a:pt x="712" y="324"/>
                </a:lnTo>
                <a:lnTo>
                  <a:pt x="703" y="335"/>
                </a:lnTo>
                <a:lnTo>
                  <a:pt x="693" y="346"/>
                </a:lnTo>
                <a:lnTo>
                  <a:pt x="684" y="358"/>
                </a:lnTo>
                <a:lnTo>
                  <a:pt x="675" y="370"/>
                </a:lnTo>
                <a:lnTo>
                  <a:pt x="667" y="382"/>
                </a:lnTo>
                <a:lnTo>
                  <a:pt x="658" y="394"/>
                </a:lnTo>
                <a:lnTo>
                  <a:pt x="650" y="407"/>
                </a:lnTo>
                <a:lnTo>
                  <a:pt x="642" y="419"/>
                </a:lnTo>
                <a:lnTo>
                  <a:pt x="634" y="432"/>
                </a:lnTo>
                <a:lnTo>
                  <a:pt x="626" y="445"/>
                </a:lnTo>
                <a:lnTo>
                  <a:pt x="618" y="458"/>
                </a:lnTo>
                <a:lnTo>
                  <a:pt x="611" y="471"/>
                </a:lnTo>
                <a:lnTo>
                  <a:pt x="604" y="485"/>
                </a:lnTo>
                <a:lnTo>
                  <a:pt x="597" y="499"/>
                </a:lnTo>
                <a:lnTo>
                  <a:pt x="590" y="513"/>
                </a:lnTo>
                <a:lnTo>
                  <a:pt x="583" y="527"/>
                </a:lnTo>
                <a:lnTo>
                  <a:pt x="577" y="541"/>
                </a:lnTo>
                <a:lnTo>
                  <a:pt x="571" y="555"/>
                </a:lnTo>
                <a:lnTo>
                  <a:pt x="565" y="569"/>
                </a:lnTo>
                <a:lnTo>
                  <a:pt x="559" y="582"/>
                </a:lnTo>
                <a:lnTo>
                  <a:pt x="554" y="595"/>
                </a:lnTo>
                <a:lnTo>
                  <a:pt x="549" y="609"/>
                </a:lnTo>
                <a:lnTo>
                  <a:pt x="544" y="621"/>
                </a:lnTo>
                <a:lnTo>
                  <a:pt x="540" y="634"/>
                </a:lnTo>
                <a:lnTo>
                  <a:pt x="536" y="646"/>
                </a:lnTo>
                <a:lnTo>
                  <a:pt x="532" y="659"/>
                </a:lnTo>
                <a:lnTo>
                  <a:pt x="529" y="671"/>
                </a:lnTo>
                <a:lnTo>
                  <a:pt x="526" y="682"/>
                </a:lnTo>
                <a:lnTo>
                  <a:pt x="523" y="694"/>
                </a:lnTo>
                <a:lnTo>
                  <a:pt x="520" y="705"/>
                </a:lnTo>
                <a:lnTo>
                  <a:pt x="518" y="716"/>
                </a:lnTo>
                <a:lnTo>
                  <a:pt x="516" y="727"/>
                </a:lnTo>
                <a:lnTo>
                  <a:pt x="514" y="737"/>
                </a:lnTo>
                <a:lnTo>
                  <a:pt x="512" y="747"/>
                </a:lnTo>
                <a:lnTo>
                  <a:pt x="511" y="756"/>
                </a:lnTo>
                <a:lnTo>
                  <a:pt x="510" y="765"/>
                </a:lnTo>
                <a:lnTo>
                  <a:pt x="508" y="772"/>
                </a:lnTo>
                <a:lnTo>
                  <a:pt x="507" y="779"/>
                </a:lnTo>
                <a:lnTo>
                  <a:pt x="506" y="786"/>
                </a:lnTo>
                <a:lnTo>
                  <a:pt x="505" y="791"/>
                </a:lnTo>
                <a:lnTo>
                  <a:pt x="504" y="797"/>
                </a:lnTo>
                <a:lnTo>
                  <a:pt x="503" y="801"/>
                </a:lnTo>
                <a:lnTo>
                  <a:pt x="502" y="805"/>
                </a:lnTo>
                <a:lnTo>
                  <a:pt x="502" y="808"/>
                </a:lnTo>
                <a:lnTo>
                  <a:pt x="501" y="810"/>
                </a:lnTo>
                <a:lnTo>
                  <a:pt x="501" y="812"/>
                </a:lnTo>
                <a:lnTo>
                  <a:pt x="501" y="813"/>
                </a:lnTo>
                <a:lnTo>
                  <a:pt x="500" y="813"/>
                </a:lnTo>
                <a:lnTo>
                  <a:pt x="499" y="812"/>
                </a:lnTo>
                <a:lnTo>
                  <a:pt x="498" y="812"/>
                </a:lnTo>
                <a:lnTo>
                  <a:pt x="496" y="811"/>
                </a:lnTo>
                <a:lnTo>
                  <a:pt x="494" y="809"/>
                </a:lnTo>
                <a:lnTo>
                  <a:pt x="491" y="808"/>
                </a:lnTo>
                <a:lnTo>
                  <a:pt x="487" y="806"/>
                </a:lnTo>
                <a:lnTo>
                  <a:pt x="483" y="804"/>
                </a:lnTo>
                <a:lnTo>
                  <a:pt x="479" y="801"/>
                </a:lnTo>
                <a:lnTo>
                  <a:pt x="474" y="798"/>
                </a:lnTo>
                <a:lnTo>
                  <a:pt x="469" y="795"/>
                </a:lnTo>
                <a:lnTo>
                  <a:pt x="463" y="792"/>
                </a:lnTo>
                <a:lnTo>
                  <a:pt x="456" y="788"/>
                </a:lnTo>
                <a:lnTo>
                  <a:pt x="449" y="785"/>
                </a:lnTo>
                <a:lnTo>
                  <a:pt x="442" y="780"/>
                </a:lnTo>
                <a:lnTo>
                  <a:pt x="434" y="776"/>
                </a:lnTo>
                <a:lnTo>
                  <a:pt x="425" y="771"/>
                </a:lnTo>
                <a:lnTo>
                  <a:pt x="417" y="766"/>
                </a:lnTo>
                <a:lnTo>
                  <a:pt x="408" y="760"/>
                </a:lnTo>
                <a:lnTo>
                  <a:pt x="399" y="755"/>
                </a:lnTo>
                <a:lnTo>
                  <a:pt x="390" y="749"/>
                </a:lnTo>
                <a:lnTo>
                  <a:pt x="381" y="742"/>
                </a:lnTo>
                <a:lnTo>
                  <a:pt x="372" y="735"/>
                </a:lnTo>
                <a:lnTo>
                  <a:pt x="362" y="728"/>
                </a:lnTo>
                <a:lnTo>
                  <a:pt x="353" y="721"/>
                </a:lnTo>
                <a:lnTo>
                  <a:pt x="343" y="713"/>
                </a:lnTo>
                <a:lnTo>
                  <a:pt x="333" y="705"/>
                </a:lnTo>
                <a:lnTo>
                  <a:pt x="323" y="696"/>
                </a:lnTo>
                <a:lnTo>
                  <a:pt x="312" y="688"/>
                </a:lnTo>
                <a:lnTo>
                  <a:pt x="302" y="679"/>
                </a:lnTo>
                <a:lnTo>
                  <a:pt x="291" y="669"/>
                </a:lnTo>
                <a:lnTo>
                  <a:pt x="280" y="659"/>
                </a:lnTo>
                <a:lnTo>
                  <a:pt x="270" y="649"/>
                </a:lnTo>
                <a:lnTo>
                  <a:pt x="259" y="639"/>
                </a:lnTo>
                <a:lnTo>
                  <a:pt x="249" y="629"/>
                </a:lnTo>
                <a:lnTo>
                  <a:pt x="239" y="618"/>
                </a:lnTo>
                <a:lnTo>
                  <a:pt x="229" y="607"/>
                </a:lnTo>
                <a:lnTo>
                  <a:pt x="219" y="596"/>
                </a:lnTo>
                <a:lnTo>
                  <a:pt x="209" y="585"/>
                </a:lnTo>
                <a:lnTo>
                  <a:pt x="200" y="574"/>
                </a:lnTo>
                <a:lnTo>
                  <a:pt x="191" y="562"/>
                </a:lnTo>
                <a:lnTo>
                  <a:pt x="182" y="551"/>
                </a:lnTo>
                <a:lnTo>
                  <a:pt x="173" y="539"/>
                </a:lnTo>
                <a:lnTo>
                  <a:pt x="164" y="526"/>
                </a:lnTo>
                <a:lnTo>
                  <a:pt x="156" y="514"/>
                </a:lnTo>
                <a:lnTo>
                  <a:pt x="148" y="502"/>
                </a:lnTo>
                <a:lnTo>
                  <a:pt x="140" y="489"/>
                </a:lnTo>
                <a:lnTo>
                  <a:pt x="132" y="476"/>
                </a:lnTo>
                <a:lnTo>
                  <a:pt x="125" y="463"/>
                </a:lnTo>
                <a:lnTo>
                  <a:pt x="118" y="450"/>
                </a:lnTo>
                <a:lnTo>
                  <a:pt x="111" y="437"/>
                </a:lnTo>
                <a:lnTo>
                  <a:pt x="104" y="424"/>
                </a:lnTo>
                <a:lnTo>
                  <a:pt x="97" y="412"/>
                </a:lnTo>
                <a:lnTo>
                  <a:pt x="91" y="399"/>
                </a:lnTo>
                <a:lnTo>
                  <a:pt x="85" y="387"/>
                </a:lnTo>
                <a:lnTo>
                  <a:pt x="79" y="374"/>
                </a:lnTo>
                <a:lnTo>
                  <a:pt x="74" y="362"/>
                </a:lnTo>
                <a:lnTo>
                  <a:pt x="68" y="350"/>
                </a:lnTo>
                <a:lnTo>
                  <a:pt x="63" y="338"/>
                </a:lnTo>
                <a:lnTo>
                  <a:pt x="59" y="326"/>
                </a:lnTo>
                <a:lnTo>
                  <a:pt x="54" y="314"/>
                </a:lnTo>
                <a:lnTo>
                  <a:pt x="50" y="302"/>
                </a:lnTo>
                <a:lnTo>
                  <a:pt x="46" y="290"/>
                </a:lnTo>
                <a:lnTo>
                  <a:pt x="42" y="278"/>
                </a:lnTo>
                <a:lnTo>
                  <a:pt x="38" y="267"/>
                </a:lnTo>
                <a:lnTo>
                  <a:pt x="35" y="255"/>
                </a:lnTo>
                <a:lnTo>
                  <a:pt x="32" y="245"/>
                </a:lnTo>
                <a:lnTo>
                  <a:pt x="28" y="234"/>
                </a:lnTo>
                <a:lnTo>
                  <a:pt x="26" y="224"/>
                </a:lnTo>
                <a:lnTo>
                  <a:pt x="23" y="215"/>
                </a:lnTo>
                <a:lnTo>
                  <a:pt x="20" y="206"/>
                </a:lnTo>
                <a:lnTo>
                  <a:pt x="18" y="197"/>
                </a:lnTo>
                <a:lnTo>
                  <a:pt x="16" y="188"/>
                </a:lnTo>
                <a:lnTo>
                  <a:pt x="14" y="180"/>
                </a:lnTo>
                <a:lnTo>
                  <a:pt x="12" y="173"/>
                </a:lnTo>
                <a:lnTo>
                  <a:pt x="11" y="165"/>
                </a:lnTo>
                <a:lnTo>
                  <a:pt x="9" y="158"/>
                </a:lnTo>
                <a:lnTo>
                  <a:pt x="8" y="152"/>
                </a:lnTo>
                <a:lnTo>
                  <a:pt x="7" y="146"/>
                </a:lnTo>
                <a:lnTo>
                  <a:pt x="7" y="140"/>
                </a:lnTo>
                <a:lnTo>
                  <a:pt x="6" y="135"/>
                </a:lnTo>
                <a:lnTo>
                  <a:pt x="5" y="130"/>
                </a:lnTo>
                <a:lnTo>
                  <a:pt x="5" y="125"/>
                </a:lnTo>
                <a:lnTo>
                  <a:pt x="4" y="120"/>
                </a:lnTo>
                <a:lnTo>
                  <a:pt x="3" y="116"/>
                </a:lnTo>
                <a:lnTo>
                  <a:pt x="3" y="113"/>
                </a:lnTo>
                <a:lnTo>
                  <a:pt x="2" y="110"/>
                </a:lnTo>
                <a:lnTo>
                  <a:pt x="2" y="107"/>
                </a:lnTo>
                <a:lnTo>
                  <a:pt x="2" y="104"/>
                </a:lnTo>
                <a:lnTo>
                  <a:pt x="1" y="102"/>
                </a:lnTo>
                <a:lnTo>
                  <a:pt x="1" y="100"/>
                </a:lnTo>
                <a:lnTo>
                  <a:pt x="1" y="98"/>
                </a:lnTo>
                <a:lnTo>
                  <a:pt x="0" y="97"/>
                </a:lnTo>
                <a:lnTo>
                  <a:pt x="0" y="96"/>
                </a:lnTo>
                <a:lnTo>
                  <a:pt x="0" y="95"/>
                </a:lnTo>
                <a:lnTo>
                  <a:pt x="1" y="95"/>
                </a:lnTo>
                <a:lnTo>
                  <a:pt x="2" y="94"/>
                </a:lnTo>
                <a:lnTo>
                  <a:pt x="3" y="94"/>
                </a:lnTo>
                <a:lnTo>
                  <a:pt x="5" y="93"/>
                </a:lnTo>
                <a:lnTo>
                  <a:pt x="7" y="92"/>
                </a:lnTo>
                <a:lnTo>
                  <a:pt x="10" y="91"/>
                </a:lnTo>
                <a:lnTo>
                  <a:pt x="14" y="89"/>
                </a:lnTo>
                <a:lnTo>
                  <a:pt x="17" y="87"/>
                </a:lnTo>
                <a:lnTo>
                  <a:pt x="22" y="86"/>
                </a:lnTo>
                <a:lnTo>
                  <a:pt x="26" y="83"/>
                </a:lnTo>
                <a:lnTo>
                  <a:pt x="31" y="81"/>
                </a:lnTo>
                <a:lnTo>
                  <a:pt x="37" y="79"/>
                </a:lnTo>
                <a:lnTo>
                  <a:pt x="43" y="76"/>
                </a:lnTo>
                <a:lnTo>
                  <a:pt x="49" y="73"/>
                </a:lnTo>
                <a:lnTo>
                  <a:pt x="56" y="70"/>
                </a:lnTo>
                <a:lnTo>
                  <a:pt x="64" y="67"/>
                </a:lnTo>
                <a:lnTo>
                  <a:pt x="71" y="64"/>
                </a:lnTo>
                <a:lnTo>
                  <a:pt x="79" y="61"/>
                </a:lnTo>
                <a:lnTo>
                  <a:pt x="88" y="58"/>
                </a:lnTo>
                <a:lnTo>
                  <a:pt x="96" y="55"/>
                </a:lnTo>
                <a:lnTo>
                  <a:pt x="105" y="52"/>
                </a:lnTo>
                <a:lnTo>
                  <a:pt x="115" y="49"/>
                </a:lnTo>
                <a:lnTo>
                  <a:pt x="124" y="46"/>
                </a:lnTo>
                <a:lnTo>
                  <a:pt x="135" y="43"/>
                </a:lnTo>
                <a:lnTo>
                  <a:pt x="145" y="40"/>
                </a:lnTo>
                <a:lnTo>
                  <a:pt x="156" y="37"/>
                </a:lnTo>
                <a:lnTo>
                  <a:pt x="167" y="34"/>
                </a:lnTo>
                <a:lnTo>
                  <a:pt x="178" y="31"/>
                </a:lnTo>
                <a:lnTo>
                  <a:pt x="190" y="28"/>
                </a:lnTo>
                <a:lnTo>
                  <a:pt x="202" y="25"/>
                </a:lnTo>
                <a:lnTo>
                  <a:pt x="215" y="22"/>
                </a:lnTo>
                <a:lnTo>
                  <a:pt x="228" y="19"/>
                </a:lnTo>
                <a:lnTo>
                  <a:pt x="241" y="16"/>
                </a:lnTo>
                <a:lnTo>
                  <a:pt x="254" y="14"/>
                </a:lnTo>
                <a:lnTo>
                  <a:pt x="267" y="12"/>
                </a:lnTo>
                <a:lnTo>
                  <a:pt x="281" y="10"/>
                </a:lnTo>
                <a:lnTo>
                  <a:pt x="294" y="8"/>
                </a:lnTo>
                <a:lnTo>
                  <a:pt x="308" y="6"/>
                </a:lnTo>
                <a:lnTo>
                  <a:pt x="322" y="5"/>
                </a:lnTo>
                <a:lnTo>
                  <a:pt x="336" y="3"/>
                </a:lnTo>
                <a:lnTo>
                  <a:pt x="350" y="2"/>
                </a:lnTo>
                <a:lnTo>
                  <a:pt x="365" y="2"/>
                </a:lnTo>
                <a:lnTo>
                  <a:pt x="379" y="1"/>
                </a:lnTo>
                <a:lnTo>
                  <a:pt x="394" y="1"/>
                </a:lnTo>
                <a:lnTo>
                  <a:pt x="409" y="0"/>
                </a:lnTo>
                <a:lnTo>
                  <a:pt x="424" y="0"/>
                </a:lnTo>
                <a:lnTo>
                  <a:pt x="440" y="0"/>
                </a:lnTo>
                <a:lnTo>
                  <a:pt x="455" y="1"/>
                </a:lnTo>
                <a:lnTo>
                  <a:pt x="470" y="1"/>
                </a:lnTo>
                <a:lnTo>
                  <a:pt x="485" y="2"/>
                </a:lnTo>
                <a:lnTo>
                  <a:pt x="500" y="3"/>
                </a:lnTo>
                <a:lnTo>
                  <a:pt x="514" y="5"/>
                </a:lnTo>
                <a:lnTo>
                  <a:pt x="529" y="6"/>
                </a:lnTo>
                <a:lnTo>
                  <a:pt x="543" y="8"/>
                </a:lnTo>
                <a:lnTo>
                  <a:pt x="558" y="10"/>
                </a:lnTo>
                <a:lnTo>
                  <a:pt x="572" y="13"/>
                </a:lnTo>
                <a:lnTo>
                  <a:pt x="586" y="15"/>
                </a:lnTo>
                <a:lnTo>
                  <a:pt x="600" y="18"/>
                </a:lnTo>
                <a:lnTo>
                  <a:pt x="613" y="21"/>
                </a:lnTo>
                <a:lnTo>
                  <a:pt x="627" y="24"/>
                </a:lnTo>
                <a:lnTo>
                  <a:pt x="640" y="28"/>
                </a:lnTo>
                <a:lnTo>
                  <a:pt x="654" y="31"/>
                </a:lnTo>
                <a:lnTo>
                  <a:pt x="667" y="35"/>
                </a:lnTo>
                <a:lnTo>
                  <a:pt x="680" y="39"/>
                </a:lnTo>
                <a:lnTo>
                  <a:pt x="692" y="44"/>
                </a:lnTo>
                <a:lnTo>
                  <a:pt x="705" y="48"/>
                </a:lnTo>
                <a:lnTo>
                  <a:pt x="717" y="52"/>
                </a:lnTo>
                <a:lnTo>
                  <a:pt x="728" y="56"/>
                </a:lnTo>
                <a:lnTo>
                  <a:pt x="740" y="61"/>
                </a:lnTo>
                <a:lnTo>
                  <a:pt x="751" y="65"/>
                </a:lnTo>
                <a:lnTo>
                  <a:pt x="762" y="70"/>
                </a:lnTo>
                <a:lnTo>
                  <a:pt x="773" y="74"/>
                </a:lnTo>
                <a:lnTo>
                  <a:pt x="783" y="79"/>
                </a:lnTo>
                <a:lnTo>
                  <a:pt x="794" y="84"/>
                </a:lnTo>
                <a:lnTo>
                  <a:pt x="803" y="88"/>
                </a:lnTo>
                <a:lnTo>
                  <a:pt x="813" y="93"/>
                </a:lnTo>
                <a:lnTo>
                  <a:pt x="822" y="98"/>
                </a:lnTo>
                <a:lnTo>
                  <a:pt x="831" y="103"/>
                </a:lnTo>
                <a:lnTo>
                  <a:pt x="840" y="108"/>
                </a:lnTo>
                <a:lnTo>
                  <a:pt x="849" y="112"/>
                </a:lnTo>
                <a:lnTo>
                  <a:pt x="856" y="117"/>
                </a:lnTo>
                <a:lnTo>
                  <a:pt x="864" y="121"/>
                </a:lnTo>
                <a:lnTo>
                  <a:pt x="871" y="125"/>
                </a:lnTo>
                <a:lnTo>
                  <a:pt x="877" y="129"/>
                </a:lnTo>
                <a:lnTo>
                  <a:pt x="882" y="132"/>
                </a:lnTo>
                <a:lnTo>
                  <a:pt x="888" y="135"/>
                </a:lnTo>
                <a:lnTo>
                  <a:pt x="892" y="137"/>
                </a:lnTo>
                <a:lnTo>
                  <a:pt x="896" y="140"/>
                </a:lnTo>
                <a:lnTo>
                  <a:pt x="900" y="142"/>
                </a:lnTo>
                <a:lnTo>
                  <a:pt x="903" y="143"/>
                </a:lnTo>
                <a:lnTo>
                  <a:pt x="905" y="145"/>
                </a:lnTo>
                <a:lnTo>
                  <a:pt x="907" y="146"/>
                </a:lnTo>
                <a:lnTo>
                  <a:pt x="908" y="147"/>
                </a:lnTo>
                <a:lnTo>
                  <a:pt x="909" y="147"/>
                </a:lnTo>
                <a:lnTo>
                  <a:pt x="910" y="147"/>
                </a:lnTo>
                <a:lnTo>
                  <a:pt x="909" y="147"/>
                </a:lnTo>
                <a:lnTo>
                  <a:pt x="909" y="148"/>
                </a:lnTo>
                <a:lnTo>
                  <a:pt x="907" y="149"/>
                </a:lnTo>
                <a:lnTo>
                  <a:pt x="906" y="150"/>
                </a:lnTo>
                <a:lnTo>
                  <a:pt x="904" y="152"/>
                </a:lnTo>
                <a:lnTo>
                  <a:pt x="901" y="153"/>
                </a:lnTo>
                <a:lnTo>
                  <a:pt x="898" y="156"/>
                </a:lnTo>
                <a:lnTo>
                  <a:pt x="894" y="158"/>
                </a:lnTo>
                <a:lnTo>
                  <a:pt x="890" y="161"/>
                </a:lnTo>
                <a:lnTo>
                  <a:pt x="886" y="164"/>
                </a:lnTo>
                <a:lnTo>
                  <a:pt x="881" y="168"/>
                </a:lnTo>
                <a:lnTo>
                  <a:pt x="875" y="172"/>
                </a:lnTo>
                <a:lnTo>
                  <a:pt x="869" y="176"/>
                </a:lnTo>
                <a:lnTo>
                  <a:pt x="863" y="181"/>
                </a:lnTo>
                <a:lnTo>
                  <a:pt x="856" y="186"/>
                </a:lnTo>
                <a:lnTo>
                  <a:pt x="849" y="19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2" name="Freeform 9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5338997" y="3369069"/>
            <a:ext cx="1762387" cy="1256922"/>
          </a:xfrm>
          <a:custGeom>
            <a:avLst/>
            <a:gdLst>
              <a:gd name="T0" fmla="*/ 1270750843 w 815"/>
              <a:gd name="T1" fmla="*/ 181520868 h 765"/>
              <a:gd name="T2" fmla="*/ 1361699049 w 815"/>
              <a:gd name="T3" fmla="*/ 269687870 h 765"/>
              <a:gd name="T4" fmla="*/ 1455174477 w 815"/>
              <a:gd name="T5" fmla="*/ 373413850 h 765"/>
              <a:gd name="T6" fmla="*/ 1553701171 w 815"/>
              <a:gd name="T7" fmla="*/ 492698808 h 765"/>
              <a:gd name="T8" fmla="*/ 1652229453 w 815"/>
              <a:gd name="T9" fmla="*/ 624950116 h 765"/>
              <a:gd name="T10" fmla="*/ 1735599172 w 815"/>
              <a:gd name="T11" fmla="*/ 754607189 h 765"/>
              <a:gd name="T12" fmla="*/ 1808863182 w 815"/>
              <a:gd name="T13" fmla="*/ 881671635 h 765"/>
              <a:gd name="T14" fmla="*/ 1869494259 w 815"/>
              <a:gd name="T15" fmla="*/ 1006143455 h 765"/>
              <a:gd name="T16" fmla="*/ 1920021217 w 815"/>
              <a:gd name="T17" fmla="*/ 1130613665 h 765"/>
              <a:gd name="T18" fmla="*/ 1960444055 w 815"/>
              <a:gd name="T19" fmla="*/ 1249900233 h 765"/>
              <a:gd name="T20" fmla="*/ 1993285227 w 815"/>
              <a:gd name="T21" fmla="*/ 1369185190 h 765"/>
              <a:gd name="T22" fmla="*/ 2018549500 w 815"/>
              <a:gd name="T23" fmla="*/ 1483283285 h 765"/>
              <a:gd name="T24" fmla="*/ 2036233697 w 815"/>
              <a:gd name="T25" fmla="*/ 1589601892 h 765"/>
              <a:gd name="T26" fmla="*/ 2048865039 w 815"/>
              <a:gd name="T27" fmla="*/ 1667396779 h 765"/>
              <a:gd name="T28" fmla="*/ 2056445116 w 815"/>
              <a:gd name="T29" fmla="*/ 1716666338 h 765"/>
              <a:gd name="T30" fmla="*/ 2056445116 w 815"/>
              <a:gd name="T31" fmla="*/ 1734819552 h 765"/>
              <a:gd name="T32" fmla="*/ 2046339406 w 815"/>
              <a:gd name="T33" fmla="*/ 1737412178 h 765"/>
              <a:gd name="T34" fmla="*/ 2013496645 w 815"/>
              <a:gd name="T35" fmla="*/ 1750378529 h 765"/>
              <a:gd name="T36" fmla="*/ 1957916833 w 815"/>
              <a:gd name="T37" fmla="*/ 1773716996 h 765"/>
              <a:gd name="T38" fmla="*/ 1874547114 w 815"/>
              <a:gd name="T39" fmla="*/ 1810020203 h 765"/>
              <a:gd name="T40" fmla="*/ 1773493199 w 815"/>
              <a:gd name="T41" fmla="*/ 1854104509 h 765"/>
              <a:gd name="T42" fmla="*/ 1657282308 w 815"/>
              <a:gd name="T43" fmla="*/ 1893001953 h 765"/>
              <a:gd name="T44" fmla="*/ 1525912854 w 815"/>
              <a:gd name="T45" fmla="*/ 1924118298 h 765"/>
              <a:gd name="T46" fmla="*/ 1379384835 w 815"/>
              <a:gd name="T47" fmla="*/ 1950051001 h 765"/>
              <a:gd name="T48" fmla="*/ 1222751107 w 815"/>
              <a:gd name="T49" fmla="*/ 1970795230 h 765"/>
              <a:gd name="T50" fmla="*/ 1068643012 w 815"/>
              <a:gd name="T51" fmla="*/ 1981168956 h 765"/>
              <a:gd name="T52" fmla="*/ 914536506 w 815"/>
              <a:gd name="T53" fmla="*/ 1978574719 h 765"/>
              <a:gd name="T54" fmla="*/ 762955632 w 815"/>
              <a:gd name="T55" fmla="*/ 1965609978 h 765"/>
              <a:gd name="T56" fmla="*/ 613901981 w 815"/>
              <a:gd name="T57" fmla="*/ 1944864138 h 765"/>
              <a:gd name="T58" fmla="*/ 477479672 w 815"/>
              <a:gd name="T59" fmla="*/ 1913746183 h 765"/>
              <a:gd name="T60" fmla="*/ 351161482 w 815"/>
              <a:gd name="T61" fmla="*/ 1877442976 h 765"/>
              <a:gd name="T62" fmla="*/ 240003447 w 815"/>
              <a:gd name="T63" fmla="*/ 1835951295 h 765"/>
              <a:gd name="T64" fmla="*/ 141475164 w 815"/>
              <a:gd name="T65" fmla="*/ 1791868599 h 765"/>
              <a:gd name="T66" fmla="*/ 68211155 w 815"/>
              <a:gd name="T67" fmla="*/ 1758158018 h 765"/>
              <a:gd name="T68" fmla="*/ 22737052 w 815"/>
              <a:gd name="T69" fmla="*/ 1737412178 h 765"/>
              <a:gd name="T70" fmla="*/ 2525633 w 815"/>
              <a:gd name="T71" fmla="*/ 1729632689 h 765"/>
              <a:gd name="T72" fmla="*/ 0 w 815"/>
              <a:gd name="T73" fmla="*/ 1721853200 h 765"/>
              <a:gd name="T74" fmla="*/ 5052855 w 815"/>
              <a:gd name="T75" fmla="*/ 1688142619 h 765"/>
              <a:gd name="T76" fmla="*/ 15158564 w 815"/>
              <a:gd name="T77" fmla="*/ 1625906709 h 765"/>
              <a:gd name="T78" fmla="*/ 30315539 w 815"/>
              <a:gd name="T79" fmla="*/ 1535145470 h 765"/>
              <a:gd name="T80" fmla="*/ 50526958 w 815"/>
              <a:gd name="T81" fmla="*/ 1423640001 h 765"/>
              <a:gd name="T82" fmla="*/ 80842497 w 815"/>
              <a:gd name="T83" fmla="*/ 1306949280 h 765"/>
              <a:gd name="T84" fmla="*/ 121263745 w 815"/>
              <a:gd name="T85" fmla="*/ 1185070086 h 765"/>
              <a:gd name="T86" fmla="*/ 169265070 w 815"/>
              <a:gd name="T87" fmla="*/ 1058005640 h 765"/>
              <a:gd name="T88" fmla="*/ 224844883 w 815"/>
              <a:gd name="T89" fmla="*/ 930941194 h 765"/>
              <a:gd name="T90" fmla="*/ 293056037 w 815"/>
              <a:gd name="T91" fmla="*/ 801284121 h 765"/>
              <a:gd name="T92" fmla="*/ 371372901 w 815"/>
              <a:gd name="T93" fmla="*/ 674219675 h 765"/>
              <a:gd name="T94" fmla="*/ 459795475 w 815"/>
              <a:gd name="T95" fmla="*/ 547155229 h 765"/>
              <a:gd name="T96" fmla="*/ 555796536 w 815"/>
              <a:gd name="T97" fmla="*/ 425277645 h 765"/>
              <a:gd name="T98" fmla="*/ 651797597 w 815"/>
              <a:gd name="T99" fmla="*/ 318957429 h 765"/>
              <a:gd name="T100" fmla="*/ 742745803 w 815"/>
              <a:gd name="T101" fmla="*/ 228197800 h 765"/>
              <a:gd name="T102" fmla="*/ 833694009 w 815"/>
              <a:gd name="T103" fmla="*/ 152995539 h 765"/>
              <a:gd name="T104" fmla="*/ 914536506 w 815"/>
              <a:gd name="T105" fmla="*/ 90759629 h 765"/>
              <a:gd name="T106" fmla="*/ 975169173 w 815"/>
              <a:gd name="T107" fmla="*/ 44084306 h 765"/>
              <a:gd name="T108" fmla="*/ 1013064788 w 815"/>
              <a:gd name="T109" fmla="*/ 15558978 h 765"/>
              <a:gd name="T110" fmla="*/ 1028221763 w 815"/>
              <a:gd name="T111" fmla="*/ 2592626 h 765"/>
              <a:gd name="T112" fmla="*/ 1035801840 w 815"/>
              <a:gd name="T113" fmla="*/ 2592626 h 765"/>
              <a:gd name="T114" fmla="*/ 1061064524 w 815"/>
              <a:gd name="T115" fmla="*/ 23338466 h 765"/>
              <a:gd name="T116" fmla="*/ 1109065849 w 815"/>
              <a:gd name="T117" fmla="*/ 59643284 h 765"/>
              <a:gd name="T118" fmla="*/ 1182329859 w 815"/>
              <a:gd name="T119" fmla="*/ 111505469 h 76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15" h="765">
                <a:moveTo>
                  <a:pt x="476" y="49"/>
                </a:moveTo>
                <a:lnTo>
                  <a:pt x="485" y="56"/>
                </a:lnTo>
                <a:lnTo>
                  <a:pt x="494" y="63"/>
                </a:lnTo>
                <a:lnTo>
                  <a:pt x="503" y="70"/>
                </a:lnTo>
                <a:lnTo>
                  <a:pt x="511" y="78"/>
                </a:lnTo>
                <a:lnTo>
                  <a:pt x="521" y="86"/>
                </a:lnTo>
                <a:lnTo>
                  <a:pt x="530" y="95"/>
                </a:lnTo>
                <a:lnTo>
                  <a:pt x="539" y="104"/>
                </a:lnTo>
                <a:lnTo>
                  <a:pt x="548" y="113"/>
                </a:lnTo>
                <a:lnTo>
                  <a:pt x="557" y="123"/>
                </a:lnTo>
                <a:lnTo>
                  <a:pt x="567" y="133"/>
                </a:lnTo>
                <a:lnTo>
                  <a:pt x="576" y="144"/>
                </a:lnTo>
                <a:lnTo>
                  <a:pt x="586" y="155"/>
                </a:lnTo>
                <a:lnTo>
                  <a:pt x="596" y="166"/>
                </a:lnTo>
                <a:lnTo>
                  <a:pt x="605" y="178"/>
                </a:lnTo>
                <a:lnTo>
                  <a:pt x="615" y="190"/>
                </a:lnTo>
                <a:lnTo>
                  <a:pt x="625" y="203"/>
                </a:lnTo>
                <a:lnTo>
                  <a:pt x="635" y="215"/>
                </a:lnTo>
                <a:lnTo>
                  <a:pt x="644" y="228"/>
                </a:lnTo>
                <a:lnTo>
                  <a:pt x="654" y="241"/>
                </a:lnTo>
                <a:lnTo>
                  <a:pt x="662" y="253"/>
                </a:lnTo>
                <a:lnTo>
                  <a:pt x="671" y="266"/>
                </a:lnTo>
                <a:lnTo>
                  <a:pt x="679" y="278"/>
                </a:lnTo>
                <a:lnTo>
                  <a:pt x="687" y="291"/>
                </a:lnTo>
                <a:lnTo>
                  <a:pt x="695" y="303"/>
                </a:lnTo>
                <a:lnTo>
                  <a:pt x="702" y="315"/>
                </a:lnTo>
                <a:lnTo>
                  <a:pt x="709" y="328"/>
                </a:lnTo>
                <a:lnTo>
                  <a:pt x="716" y="340"/>
                </a:lnTo>
                <a:lnTo>
                  <a:pt x="723" y="352"/>
                </a:lnTo>
                <a:lnTo>
                  <a:pt x="729" y="364"/>
                </a:lnTo>
                <a:lnTo>
                  <a:pt x="735" y="376"/>
                </a:lnTo>
                <a:lnTo>
                  <a:pt x="740" y="388"/>
                </a:lnTo>
                <a:lnTo>
                  <a:pt x="745" y="400"/>
                </a:lnTo>
                <a:lnTo>
                  <a:pt x="750" y="412"/>
                </a:lnTo>
                <a:lnTo>
                  <a:pt x="755" y="424"/>
                </a:lnTo>
                <a:lnTo>
                  <a:pt x="760" y="436"/>
                </a:lnTo>
                <a:lnTo>
                  <a:pt x="764" y="448"/>
                </a:lnTo>
                <a:lnTo>
                  <a:pt x="768" y="459"/>
                </a:lnTo>
                <a:lnTo>
                  <a:pt x="772" y="471"/>
                </a:lnTo>
                <a:lnTo>
                  <a:pt x="776" y="482"/>
                </a:lnTo>
                <a:lnTo>
                  <a:pt x="780" y="494"/>
                </a:lnTo>
                <a:lnTo>
                  <a:pt x="783" y="505"/>
                </a:lnTo>
                <a:lnTo>
                  <a:pt x="786" y="517"/>
                </a:lnTo>
                <a:lnTo>
                  <a:pt x="789" y="528"/>
                </a:lnTo>
                <a:lnTo>
                  <a:pt x="792" y="539"/>
                </a:lnTo>
                <a:lnTo>
                  <a:pt x="795" y="550"/>
                </a:lnTo>
                <a:lnTo>
                  <a:pt x="797" y="561"/>
                </a:lnTo>
                <a:lnTo>
                  <a:pt x="799" y="572"/>
                </a:lnTo>
                <a:lnTo>
                  <a:pt x="801" y="583"/>
                </a:lnTo>
                <a:lnTo>
                  <a:pt x="803" y="594"/>
                </a:lnTo>
                <a:lnTo>
                  <a:pt x="805" y="604"/>
                </a:lnTo>
                <a:lnTo>
                  <a:pt x="806" y="613"/>
                </a:lnTo>
                <a:lnTo>
                  <a:pt x="808" y="622"/>
                </a:lnTo>
                <a:lnTo>
                  <a:pt x="809" y="629"/>
                </a:lnTo>
                <a:lnTo>
                  <a:pt x="810" y="636"/>
                </a:lnTo>
                <a:lnTo>
                  <a:pt x="811" y="643"/>
                </a:lnTo>
                <a:lnTo>
                  <a:pt x="812" y="649"/>
                </a:lnTo>
                <a:lnTo>
                  <a:pt x="813" y="654"/>
                </a:lnTo>
                <a:lnTo>
                  <a:pt x="813" y="658"/>
                </a:lnTo>
                <a:lnTo>
                  <a:pt x="814" y="662"/>
                </a:lnTo>
                <a:lnTo>
                  <a:pt x="814" y="664"/>
                </a:lnTo>
                <a:lnTo>
                  <a:pt x="814" y="667"/>
                </a:lnTo>
                <a:lnTo>
                  <a:pt x="814" y="668"/>
                </a:lnTo>
                <a:lnTo>
                  <a:pt x="814" y="669"/>
                </a:lnTo>
                <a:lnTo>
                  <a:pt x="813" y="669"/>
                </a:lnTo>
                <a:lnTo>
                  <a:pt x="812" y="669"/>
                </a:lnTo>
                <a:lnTo>
                  <a:pt x="810" y="670"/>
                </a:lnTo>
                <a:lnTo>
                  <a:pt x="808" y="671"/>
                </a:lnTo>
                <a:lnTo>
                  <a:pt x="805" y="672"/>
                </a:lnTo>
                <a:lnTo>
                  <a:pt x="801" y="673"/>
                </a:lnTo>
                <a:lnTo>
                  <a:pt x="797" y="675"/>
                </a:lnTo>
                <a:lnTo>
                  <a:pt x="792" y="677"/>
                </a:lnTo>
                <a:lnTo>
                  <a:pt x="787" y="679"/>
                </a:lnTo>
                <a:lnTo>
                  <a:pt x="781" y="681"/>
                </a:lnTo>
                <a:lnTo>
                  <a:pt x="775" y="684"/>
                </a:lnTo>
                <a:lnTo>
                  <a:pt x="767" y="687"/>
                </a:lnTo>
                <a:lnTo>
                  <a:pt x="760" y="691"/>
                </a:lnTo>
                <a:lnTo>
                  <a:pt x="751" y="694"/>
                </a:lnTo>
                <a:lnTo>
                  <a:pt x="742" y="698"/>
                </a:lnTo>
                <a:lnTo>
                  <a:pt x="733" y="702"/>
                </a:lnTo>
                <a:lnTo>
                  <a:pt x="723" y="707"/>
                </a:lnTo>
                <a:lnTo>
                  <a:pt x="713" y="711"/>
                </a:lnTo>
                <a:lnTo>
                  <a:pt x="702" y="715"/>
                </a:lnTo>
                <a:lnTo>
                  <a:pt x="691" y="719"/>
                </a:lnTo>
                <a:lnTo>
                  <a:pt x="679" y="722"/>
                </a:lnTo>
                <a:lnTo>
                  <a:pt x="668" y="726"/>
                </a:lnTo>
                <a:lnTo>
                  <a:pt x="656" y="730"/>
                </a:lnTo>
                <a:lnTo>
                  <a:pt x="643" y="733"/>
                </a:lnTo>
                <a:lnTo>
                  <a:pt x="630" y="736"/>
                </a:lnTo>
                <a:lnTo>
                  <a:pt x="617" y="739"/>
                </a:lnTo>
                <a:lnTo>
                  <a:pt x="604" y="742"/>
                </a:lnTo>
                <a:lnTo>
                  <a:pt x="590" y="745"/>
                </a:lnTo>
                <a:lnTo>
                  <a:pt x="575" y="748"/>
                </a:lnTo>
                <a:lnTo>
                  <a:pt x="561" y="750"/>
                </a:lnTo>
                <a:lnTo>
                  <a:pt x="546" y="752"/>
                </a:lnTo>
                <a:lnTo>
                  <a:pt x="531" y="755"/>
                </a:lnTo>
                <a:lnTo>
                  <a:pt x="515" y="757"/>
                </a:lnTo>
                <a:lnTo>
                  <a:pt x="500" y="759"/>
                </a:lnTo>
                <a:lnTo>
                  <a:pt x="484" y="760"/>
                </a:lnTo>
                <a:lnTo>
                  <a:pt x="469" y="761"/>
                </a:lnTo>
                <a:lnTo>
                  <a:pt x="454" y="762"/>
                </a:lnTo>
                <a:lnTo>
                  <a:pt x="438" y="763"/>
                </a:lnTo>
                <a:lnTo>
                  <a:pt x="423" y="764"/>
                </a:lnTo>
                <a:lnTo>
                  <a:pt x="408" y="764"/>
                </a:lnTo>
                <a:lnTo>
                  <a:pt x="392" y="764"/>
                </a:lnTo>
                <a:lnTo>
                  <a:pt x="377" y="764"/>
                </a:lnTo>
                <a:lnTo>
                  <a:pt x="362" y="763"/>
                </a:lnTo>
                <a:lnTo>
                  <a:pt x="347" y="762"/>
                </a:lnTo>
                <a:lnTo>
                  <a:pt x="332" y="761"/>
                </a:lnTo>
                <a:lnTo>
                  <a:pt x="317" y="760"/>
                </a:lnTo>
                <a:lnTo>
                  <a:pt x="302" y="758"/>
                </a:lnTo>
                <a:lnTo>
                  <a:pt x="287" y="756"/>
                </a:lnTo>
                <a:lnTo>
                  <a:pt x="272" y="754"/>
                </a:lnTo>
                <a:lnTo>
                  <a:pt x="257" y="752"/>
                </a:lnTo>
                <a:lnTo>
                  <a:pt x="243" y="750"/>
                </a:lnTo>
                <a:lnTo>
                  <a:pt x="229" y="747"/>
                </a:lnTo>
                <a:lnTo>
                  <a:pt x="215" y="744"/>
                </a:lnTo>
                <a:lnTo>
                  <a:pt x="202" y="741"/>
                </a:lnTo>
                <a:lnTo>
                  <a:pt x="189" y="738"/>
                </a:lnTo>
                <a:lnTo>
                  <a:pt x="176" y="735"/>
                </a:lnTo>
                <a:lnTo>
                  <a:pt x="164" y="732"/>
                </a:lnTo>
                <a:lnTo>
                  <a:pt x="151" y="728"/>
                </a:lnTo>
                <a:lnTo>
                  <a:pt x="139" y="724"/>
                </a:lnTo>
                <a:lnTo>
                  <a:pt x="128" y="721"/>
                </a:lnTo>
                <a:lnTo>
                  <a:pt x="116" y="716"/>
                </a:lnTo>
                <a:lnTo>
                  <a:pt x="105" y="712"/>
                </a:lnTo>
                <a:lnTo>
                  <a:pt x="95" y="708"/>
                </a:lnTo>
                <a:lnTo>
                  <a:pt x="84" y="703"/>
                </a:lnTo>
                <a:lnTo>
                  <a:pt x="74" y="699"/>
                </a:lnTo>
                <a:lnTo>
                  <a:pt x="65" y="695"/>
                </a:lnTo>
                <a:lnTo>
                  <a:pt x="56" y="691"/>
                </a:lnTo>
                <a:lnTo>
                  <a:pt x="48" y="687"/>
                </a:lnTo>
                <a:lnTo>
                  <a:pt x="40" y="684"/>
                </a:lnTo>
                <a:lnTo>
                  <a:pt x="34" y="681"/>
                </a:lnTo>
                <a:lnTo>
                  <a:pt x="27" y="678"/>
                </a:lnTo>
                <a:lnTo>
                  <a:pt x="22" y="675"/>
                </a:lnTo>
                <a:lnTo>
                  <a:pt x="17" y="673"/>
                </a:lnTo>
                <a:lnTo>
                  <a:pt x="13" y="672"/>
                </a:lnTo>
                <a:lnTo>
                  <a:pt x="9" y="670"/>
                </a:lnTo>
                <a:lnTo>
                  <a:pt x="6" y="669"/>
                </a:lnTo>
                <a:lnTo>
                  <a:pt x="3" y="668"/>
                </a:lnTo>
                <a:lnTo>
                  <a:pt x="2" y="667"/>
                </a:lnTo>
                <a:lnTo>
                  <a:pt x="1" y="667"/>
                </a:lnTo>
                <a:lnTo>
                  <a:pt x="0" y="667"/>
                </a:lnTo>
                <a:lnTo>
                  <a:pt x="0" y="666"/>
                </a:lnTo>
                <a:lnTo>
                  <a:pt x="0" y="664"/>
                </a:lnTo>
                <a:lnTo>
                  <a:pt x="0" y="662"/>
                </a:lnTo>
                <a:lnTo>
                  <a:pt x="1" y="659"/>
                </a:lnTo>
                <a:lnTo>
                  <a:pt x="1" y="655"/>
                </a:lnTo>
                <a:lnTo>
                  <a:pt x="2" y="651"/>
                </a:lnTo>
                <a:lnTo>
                  <a:pt x="3" y="646"/>
                </a:lnTo>
                <a:lnTo>
                  <a:pt x="4" y="640"/>
                </a:lnTo>
                <a:lnTo>
                  <a:pt x="5" y="634"/>
                </a:lnTo>
                <a:lnTo>
                  <a:pt x="6" y="627"/>
                </a:lnTo>
                <a:lnTo>
                  <a:pt x="7" y="619"/>
                </a:lnTo>
                <a:lnTo>
                  <a:pt x="9" y="611"/>
                </a:lnTo>
                <a:lnTo>
                  <a:pt x="10" y="602"/>
                </a:lnTo>
                <a:lnTo>
                  <a:pt x="12" y="592"/>
                </a:lnTo>
                <a:lnTo>
                  <a:pt x="14" y="582"/>
                </a:lnTo>
                <a:lnTo>
                  <a:pt x="16" y="571"/>
                </a:lnTo>
                <a:lnTo>
                  <a:pt x="18" y="560"/>
                </a:lnTo>
                <a:lnTo>
                  <a:pt x="20" y="549"/>
                </a:lnTo>
                <a:lnTo>
                  <a:pt x="23" y="538"/>
                </a:lnTo>
                <a:lnTo>
                  <a:pt x="26" y="527"/>
                </a:lnTo>
                <a:lnTo>
                  <a:pt x="29" y="515"/>
                </a:lnTo>
                <a:lnTo>
                  <a:pt x="32" y="504"/>
                </a:lnTo>
                <a:lnTo>
                  <a:pt x="36" y="492"/>
                </a:lnTo>
                <a:lnTo>
                  <a:pt x="40" y="481"/>
                </a:lnTo>
                <a:lnTo>
                  <a:pt x="44" y="469"/>
                </a:lnTo>
                <a:lnTo>
                  <a:pt x="48" y="457"/>
                </a:lnTo>
                <a:lnTo>
                  <a:pt x="52" y="445"/>
                </a:lnTo>
                <a:lnTo>
                  <a:pt x="57" y="433"/>
                </a:lnTo>
                <a:lnTo>
                  <a:pt x="62" y="421"/>
                </a:lnTo>
                <a:lnTo>
                  <a:pt x="67" y="408"/>
                </a:lnTo>
                <a:lnTo>
                  <a:pt x="72" y="396"/>
                </a:lnTo>
                <a:lnTo>
                  <a:pt x="77" y="383"/>
                </a:lnTo>
                <a:lnTo>
                  <a:pt x="83" y="371"/>
                </a:lnTo>
                <a:lnTo>
                  <a:pt x="89" y="359"/>
                </a:lnTo>
                <a:lnTo>
                  <a:pt x="95" y="346"/>
                </a:lnTo>
                <a:lnTo>
                  <a:pt x="102" y="334"/>
                </a:lnTo>
                <a:lnTo>
                  <a:pt x="109" y="321"/>
                </a:lnTo>
                <a:lnTo>
                  <a:pt x="116" y="309"/>
                </a:lnTo>
                <a:lnTo>
                  <a:pt x="123" y="297"/>
                </a:lnTo>
                <a:lnTo>
                  <a:pt x="131" y="284"/>
                </a:lnTo>
                <a:lnTo>
                  <a:pt x="139" y="272"/>
                </a:lnTo>
                <a:lnTo>
                  <a:pt x="147" y="260"/>
                </a:lnTo>
                <a:lnTo>
                  <a:pt x="155" y="248"/>
                </a:lnTo>
                <a:lnTo>
                  <a:pt x="164" y="236"/>
                </a:lnTo>
                <a:lnTo>
                  <a:pt x="173" y="223"/>
                </a:lnTo>
                <a:lnTo>
                  <a:pt x="182" y="211"/>
                </a:lnTo>
                <a:lnTo>
                  <a:pt x="192" y="199"/>
                </a:lnTo>
                <a:lnTo>
                  <a:pt x="201" y="187"/>
                </a:lnTo>
                <a:lnTo>
                  <a:pt x="211" y="176"/>
                </a:lnTo>
                <a:lnTo>
                  <a:pt x="220" y="164"/>
                </a:lnTo>
                <a:lnTo>
                  <a:pt x="230" y="154"/>
                </a:lnTo>
                <a:lnTo>
                  <a:pt x="239" y="143"/>
                </a:lnTo>
                <a:lnTo>
                  <a:pt x="249" y="133"/>
                </a:lnTo>
                <a:lnTo>
                  <a:pt x="258" y="123"/>
                </a:lnTo>
                <a:lnTo>
                  <a:pt x="267" y="114"/>
                </a:lnTo>
                <a:lnTo>
                  <a:pt x="276" y="105"/>
                </a:lnTo>
                <a:lnTo>
                  <a:pt x="285" y="96"/>
                </a:lnTo>
                <a:lnTo>
                  <a:pt x="294" y="88"/>
                </a:lnTo>
                <a:lnTo>
                  <a:pt x="303" y="80"/>
                </a:lnTo>
                <a:lnTo>
                  <a:pt x="312" y="73"/>
                </a:lnTo>
                <a:lnTo>
                  <a:pt x="321" y="65"/>
                </a:lnTo>
                <a:lnTo>
                  <a:pt x="330" y="59"/>
                </a:lnTo>
                <a:lnTo>
                  <a:pt x="339" y="52"/>
                </a:lnTo>
                <a:lnTo>
                  <a:pt x="347" y="46"/>
                </a:lnTo>
                <a:lnTo>
                  <a:pt x="355" y="40"/>
                </a:lnTo>
                <a:lnTo>
                  <a:pt x="362" y="35"/>
                </a:lnTo>
                <a:lnTo>
                  <a:pt x="369" y="30"/>
                </a:lnTo>
                <a:lnTo>
                  <a:pt x="375" y="25"/>
                </a:lnTo>
                <a:lnTo>
                  <a:pt x="381" y="21"/>
                </a:lnTo>
                <a:lnTo>
                  <a:pt x="386" y="17"/>
                </a:lnTo>
                <a:lnTo>
                  <a:pt x="391" y="14"/>
                </a:lnTo>
                <a:lnTo>
                  <a:pt x="395" y="11"/>
                </a:lnTo>
                <a:lnTo>
                  <a:pt x="398" y="8"/>
                </a:lnTo>
                <a:lnTo>
                  <a:pt x="401" y="6"/>
                </a:lnTo>
                <a:lnTo>
                  <a:pt x="403" y="4"/>
                </a:lnTo>
                <a:lnTo>
                  <a:pt x="405" y="3"/>
                </a:lnTo>
                <a:lnTo>
                  <a:pt x="406" y="1"/>
                </a:lnTo>
                <a:lnTo>
                  <a:pt x="407" y="1"/>
                </a:lnTo>
                <a:lnTo>
                  <a:pt x="407" y="0"/>
                </a:lnTo>
                <a:lnTo>
                  <a:pt x="408" y="0"/>
                </a:lnTo>
                <a:lnTo>
                  <a:pt x="408" y="1"/>
                </a:lnTo>
                <a:lnTo>
                  <a:pt x="410" y="1"/>
                </a:lnTo>
                <a:lnTo>
                  <a:pt x="411" y="3"/>
                </a:lnTo>
                <a:lnTo>
                  <a:pt x="414" y="4"/>
                </a:lnTo>
                <a:lnTo>
                  <a:pt x="417" y="6"/>
                </a:lnTo>
                <a:lnTo>
                  <a:pt x="420" y="9"/>
                </a:lnTo>
                <a:lnTo>
                  <a:pt x="424" y="12"/>
                </a:lnTo>
                <a:lnTo>
                  <a:pt x="429" y="15"/>
                </a:lnTo>
                <a:lnTo>
                  <a:pt x="434" y="19"/>
                </a:lnTo>
                <a:lnTo>
                  <a:pt x="439" y="23"/>
                </a:lnTo>
                <a:lnTo>
                  <a:pt x="446" y="27"/>
                </a:lnTo>
                <a:lnTo>
                  <a:pt x="452" y="32"/>
                </a:lnTo>
                <a:lnTo>
                  <a:pt x="460" y="38"/>
                </a:lnTo>
                <a:lnTo>
                  <a:pt x="468" y="43"/>
                </a:lnTo>
                <a:lnTo>
                  <a:pt x="476" y="49"/>
                </a:lnTo>
                <a:close/>
              </a:path>
            </a:pathLst>
          </a:cu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  <p:sp>
        <p:nvSpPr>
          <p:cNvPr id="13" name="Freeform 10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5339022" y="4467352"/>
            <a:ext cx="1771025" cy="1389741"/>
          </a:xfrm>
          <a:custGeom>
            <a:avLst/>
            <a:gdLst>
              <a:gd name="T0" fmla="*/ 313148603 w 829"/>
              <a:gd name="T1" fmla="*/ 128935752 h 865"/>
              <a:gd name="T2" fmla="*/ 466023359 w 829"/>
              <a:gd name="T3" fmla="*/ 173567721 h 865"/>
              <a:gd name="T4" fmla="*/ 636158473 w 829"/>
              <a:gd name="T5" fmla="*/ 208280951 h 865"/>
              <a:gd name="T6" fmla="*/ 823555514 w 829"/>
              <a:gd name="T7" fmla="*/ 233075440 h 865"/>
              <a:gd name="T8" fmla="*/ 1006018780 w 829"/>
              <a:gd name="T9" fmla="*/ 245474259 h 865"/>
              <a:gd name="T10" fmla="*/ 1183551414 w 829"/>
              <a:gd name="T11" fmla="*/ 240514101 h 865"/>
              <a:gd name="T12" fmla="*/ 1356153414 w 829"/>
              <a:gd name="T13" fmla="*/ 220678195 h 865"/>
              <a:gd name="T14" fmla="*/ 1521357894 w 829"/>
              <a:gd name="T15" fmla="*/ 185964966 h 865"/>
              <a:gd name="T16" fmla="*/ 1674232651 w 829"/>
              <a:gd name="T17" fmla="*/ 143813075 h 865"/>
              <a:gd name="T18" fmla="*/ 1817246141 w 829"/>
              <a:gd name="T19" fmla="*/ 86783861 h 865"/>
              <a:gd name="T20" fmla="*/ 1928204233 w 829"/>
              <a:gd name="T21" fmla="*/ 42151891 h 865"/>
              <a:gd name="T22" fmla="*/ 1994778774 w 829"/>
              <a:gd name="T23" fmla="*/ 14877323 h 865"/>
              <a:gd name="T24" fmla="*/ 2019435081 w 829"/>
              <a:gd name="T25" fmla="*/ 7438662 h 865"/>
              <a:gd name="T26" fmla="*/ 2021901968 w 829"/>
              <a:gd name="T27" fmla="*/ 27274568 h 865"/>
              <a:gd name="T28" fmla="*/ 2026832601 w 829"/>
              <a:gd name="T29" fmla="*/ 84303782 h 865"/>
              <a:gd name="T30" fmla="*/ 2034230122 w 829"/>
              <a:gd name="T31" fmla="*/ 181006383 h 865"/>
              <a:gd name="T32" fmla="*/ 2041627642 w 829"/>
              <a:gd name="T33" fmla="*/ 312420639 h 865"/>
              <a:gd name="T34" fmla="*/ 2031764805 w 829"/>
              <a:gd name="T35" fmla="*/ 466152454 h 865"/>
              <a:gd name="T36" fmla="*/ 2007106928 w 829"/>
              <a:gd name="T37" fmla="*/ 644678758 h 865"/>
              <a:gd name="T38" fmla="*/ 1965190264 w 829"/>
              <a:gd name="T39" fmla="*/ 840560890 h 865"/>
              <a:gd name="T40" fmla="*/ 1903546356 w 829"/>
              <a:gd name="T41" fmla="*/ 1031486013 h 865"/>
              <a:gd name="T42" fmla="*/ 1827108977 w 829"/>
              <a:gd name="T43" fmla="*/ 1217450979 h 865"/>
              <a:gd name="T44" fmla="*/ 1730944355 w 829"/>
              <a:gd name="T45" fmla="*/ 1395977283 h 865"/>
              <a:gd name="T46" fmla="*/ 1627383783 w 829"/>
              <a:gd name="T47" fmla="*/ 1559626264 h 865"/>
              <a:gd name="T48" fmla="*/ 1516425691 w 829"/>
              <a:gd name="T49" fmla="*/ 1705917843 h 865"/>
              <a:gd name="T50" fmla="*/ 1398070078 w 829"/>
              <a:gd name="T51" fmla="*/ 1834853594 h 865"/>
              <a:gd name="T52" fmla="*/ 1289578873 w 829"/>
              <a:gd name="T53" fmla="*/ 1938994857 h 865"/>
              <a:gd name="T54" fmla="*/ 1198346454 w 829"/>
              <a:gd name="T55" fmla="*/ 2020818560 h 865"/>
              <a:gd name="T56" fmla="*/ 1121909076 w 829"/>
              <a:gd name="T57" fmla="*/ 2075369270 h 865"/>
              <a:gd name="T58" fmla="*/ 1067662688 w 829"/>
              <a:gd name="T59" fmla="*/ 2112562578 h 865"/>
              <a:gd name="T60" fmla="*/ 1030676658 w 829"/>
              <a:gd name="T61" fmla="*/ 2134876989 h 865"/>
              <a:gd name="T62" fmla="*/ 1018348504 w 829"/>
              <a:gd name="T63" fmla="*/ 2142315650 h 865"/>
              <a:gd name="T64" fmla="*/ 1008485667 w 829"/>
              <a:gd name="T65" fmla="*/ 2134876989 h 865"/>
              <a:gd name="T66" fmla="*/ 969032750 w 829"/>
              <a:gd name="T67" fmla="*/ 2107602421 h 865"/>
              <a:gd name="T68" fmla="*/ 897527575 w 829"/>
              <a:gd name="T69" fmla="*/ 2055531790 h 865"/>
              <a:gd name="T70" fmla="*/ 801362953 w 829"/>
              <a:gd name="T71" fmla="*/ 1981146748 h 865"/>
              <a:gd name="T72" fmla="*/ 695337064 w 829"/>
              <a:gd name="T73" fmla="*/ 1886924226 h 865"/>
              <a:gd name="T74" fmla="*/ 584378972 w 829"/>
              <a:gd name="T75" fmla="*/ 1772865797 h 865"/>
              <a:gd name="T76" fmla="*/ 470955563 w 829"/>
              <a:gd name="T77" fmla="*/ 1636491384 h 865"/>
              <a:gd name="T78" fmla="*/ 364928104 w 829"/>
              <a:gd name="T79" fmla="*/ 1495158388 h 865"/>
              <a:gd name="T80" fmla="*/ 273695685 w 829"/>
              <a:gd name="T81" fmla="*/ 1346386730 h 865"/>
              <a:gd name="T82" fmla="*/ 197258307 w 829"/>
              <a:gd name="T83" fmla="*/ 1195134994 h 865"/>
              <a:gd name="T84" fmla="*/ 133149083 w 829"/>
              <a:gd name="T85" fmla="*/ 1036444596 h 865"/>
              <a:gd name="T86" fmla="*/ 83834898 w 829"/>
              <a:gd name="T87" fmla="*/ 877754198 h 865"/>
              <a:gd name="T88" fmla="*/ 44383551 w 829"/>
              <a:gd name="T89" fmla="*/ 716585296 h 865"/>
              <a:gd name="T90" fmla="*/ 17260357 w 829"/>
              <a:gd name="T91" fmla="*/ 555414819 h 865"/>
              <a:gd name="T92" fmla="*/ 4932204 w 829"/>
              <a:gd name="T93" fmla="*/ 401684578 h 865"/>
              <a:gd name="T94" fmla="*/ 0 w 829"/>
              <a:gd name="T95" fmla="*/ 255391424 h 865"/>
              <a:gd name="T96" fmla="*/ 4932204 w 829"/>
              <a:gd name="T97" fmla="*/ 126455673 h 865"/>
              <a:gd name="T98" fmla="*/ 7397520 w 829"/>
              <a:gd name="T99" fmla="*/ 42151891 h 865"/>
              <a:gd name="T100" fmla="*/ 9862837 w 829"/>
              <a:gd name="T101" fmla="*/ 2480079 h 865"/>
              <a:gd name="T102" fmla="*/ 17260357 w 829"/>
              <a:gd name="T103" fmla="*/ 2480079 h 865"/>
              <a:gd name="T104" fmla="*/ 59177021 w 829"/>
              <a:gd name="T105" fmla="*/ 22315985 h 865"/>
              <a:gd name="T106" fmla="*/ 140546603 w 829"/>
              <a:gd name="T107" fmla="*/ 57029214 h 86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29" h="865">
                <a:moveTo>
                  <a:pt x="85" y="35"/>
                </a:moveTo>
                <a:lnTo>
                  <a:pt x="95" y="40"/>
                </a:lnTo>
                <a:lnTo>
                  <a:pt x="105" y="44"/>
                </a:lnTo>
                <a:lnTo>
                  <a:pt x="116" y="48"/>
                </a:lnTo>
                <a:lnTo>
                  <a:pt x="127" y="52"/>
                </a:lnTo>
                <a:lnTo>
                  <a:pt x="139" y="56"/>
                </a:lnTo>
                <a:lnTo>
                  <a:pt x="151" y="59"/>
                </a:lnTo>
                <a:lnTo>
                  <a:pt x="163" y="63"/>
                </a:lnTo>
                <a:lnTo>
                  <a:pt x="176" y="66"/>
                </a:lnTo>
                <a:lnTo>
                  <a:pt x="189" y="70"/>
                </a:lnTo>
                <a:lnTo>
                  <a:pt x="202" y="73"/>
                </a:lnTo>
                <a:lnTo>
                  <a:pt x="215" y="76"/>
                </a:lnTo>
                <a:lnTo>
                  <a:pt x="229" y="79"/>
                </a:lnTo>
                <a:lnTo>
                  <a:pt x="243" y="81"/>
                </a:lnTo>
                <a:lnTo>
                  <a:pt x="258" y="84"/>
                </a:lnTo>
                <a:lnTo>
                  <a:pt x="273" y="86"/>
                </a:lnTo>
                <a:lnTo>
                  <a:pt x="288" y="89"/>
                </a:lnTo>
                <a:lnTo>
                  <a:pt x="303" y="91"/>
                </a:lnTo>
                <a:lnTo>
                  <a:pt x="319" y="93"/>
                </a:lnTo>
                <a:lnTo>
                  <a:pt x="334" y="94"/>
                </a:lnTo>
                <a:lnTo>
                  <a:pt x="349" y="96"/>
                </a:lnTo>
                <a:lnTo>
                  <a:pt x="364" y="97"/>
                </a:lnTo>
                <a:lnTo>
                  <a:pt x="379" y="98"/>
                </a:lnTo>
                <a:lnTo>
                  <a:pt x="393" y="98"/>
                </a:lnTo>
                <a:lnTo>
                  <a:pt x="408" y="99"/>
                </a:lnTo>
                <a:lnTo>
                  <a:pt x="423" y="99"/>
                </a:lnTo>
                <a:lnTo>
                  <a:pt x="437" y="99"/>
                </a:lnTo>
                <a:lnTo>
                  <a:pt x="452" y="98"/>
                </a:lnTo>
                <a:lnTo>
                  <a:pt x="466" y="98"/>
                </a:lnTo>
                <a:lnTo>
                  <a:pt x="480" y="97"/>
                </a:lnTo>
                <a:lnTo>
                  <a:pt x="495" y="96"/>
                </a:lnTo>
                <a:lnTo>
                  <a:pt x="509" y="94"/>
                </a:lnTo>
                <a:lnTo>
                  <a:pt x="523" y="93"/>
                </a:lnTo>
                <a:lnTo>
                  <a:pt x="537" y="91"/>
                </a:lnTo>
                <a:lnTo>
                  <a:pt x="550" y="89"/>
                </a:lnTo>
                <a:lnTo>
                  <a:pt x="564" y="86"/>
                </a:lnTo>
                <a:lnTo>
                  <a:pt x="577" y="84"/>
                </a:lnTo>
                <a:lnTo>
                  <a:pt x="591" y="81"/>
                </a:lnTo>
                <a:lnTo>
                  <a:pt x="604" y="78"/>
                </a:lnTo>
                <a:lnTo>
                  <a:pt x="617" y="75"/>
                </a:lnTo>
                <a:lnTo>
                  <a:pt x="630" y="72"/>
                </a:lnTo>
                <a:lnTo>
                  <a:pt x="642" y="69"/>
                </a:lnTo>
                <a:lnTo>
                  <a:pt x="655" y="65"/>
                </a:lnTo>
                <a:lnTo>
                  <a:pt x="667" y="62"/>
                </a:lnTo>
                <a:lnTo>
                  <a:pt x="679" y="58"/>
                </a:lnTo>
                <a:lnTo>
                  <a:pt x="691" y="53"/>
                </a:lnTo>
                <a:lnTo>
                  <a:pt x="703" y="49"/>
                </a:lnTo>
                <a:lnTo>
                  <a:pt x="715" y="45"/>
                </a:lnTo>
                <a:lnTo>
                  <a:pt x="726" y="40"/>
                </a:lnTo>
                <a:lnTo>
                  <a:pt x="737" y="35"/>
                </a:lnTo>
                <a:lnTo>
                  <a:pt x="748" y="31"/>
                </a:lnTo>
                <a:lnTo>
                  <a:pt x="758" y="27"/>
                </a:lnTo>
                <a:lnTo>
                  <a:pt x="767" y="23"/>
                </a:lnTo>
                <a:lnTo>
                  <a:pt x="775" y="20"/>
                </a:lnTo>
                <a:lnTo>
                  <a:pt x="782" y="17"/>
                </a:lnTo>
                <a:lnTo>
                  <a:pt x="789" y="14"/>
                </a:lnTo>
                <a:lnTo>
                  <a:pt x="795" y="12"/>
                </a:lnTo>
                <a:lnTo>
                  <a:pt x="801" y="9"/>
                </a:lnTo>
                <a:lnTo>
                  <a:pt x="805" y="8"/>
                </a:lnTo>
                <a:lnTo>
                  <a:pt x="809" y="6"/>
                </a:lnTo>
                <a:lnTo>
                  <a:pt x="813" y="5"/>
                </a:lnTo>
                <a:lnTo>
                  <a:pt x="815" y="4"/>
                </a:lnTo>
                <a:lnTo>
                  <a:pt x="817" y="3"/>
                </a:lnTo>
                <a:lnTo>
                  <a:pt x="818" y="3"/>
                </a:lnTo>
                <a:lnTo>
                  <a:pt x="819" y="3"/>
                </a:lnTo>
                <a:lnTo>
                  <a:pt x="819" y="4"/>
                </a:lnTo>
                <a:lnTo>
                  <a:pt x="819" y="6"/>
                </a:lnTo>
                <a:lnTo>
                  <a:pt x="819" y="8"/>
                </a:lnTo>
                <a:lnTo>
                  <a:pt x="820" y="11"/>
                </a:lnTo>
                <a:lnTo>
                  <a:pt x="820" y="14"/>
                </a:lnTo>
                <a:lnTo>
                  <a:pt x="820" y="18"/>
                </a:lnTo>
                <a:lnTo>
                  <a:pt x="821" y="23"/>
                </a:lnTo>
                <a:lnTo>
                  <a:pt x="821" y="28"/>
                </a:lnTo>
                <a:lnTo>
                  <a:pt x="822" y="34"/>
                </a:lnTo>
                <a:lnTo>
                  <a:pt x="822" y="41"/>
                </a:lnTo>
                <a:lnTo>
                  <a:pt x="823" y="48"/>
                </a:lnTo>
                <a:lnTo>
                  <a:pt x="824" y="56"/>
                </a:lnTo>
                <a:lnTo>
                  <a:pt x="825" y="64"/>
                </a:lnTo>
                <a:lnTo>
                  <a:pt x="825" y="73"/>
                </a:lnTo>
                <a:lnTo>
                  <a:pt x="826" y="83"/>
                </a:lnTo>
                <a:lnTo>
                  <a:pt x="827" y="93"/>
                </a:lnTo>
                <a:lnTo>
                  <a:pt x="828" y="104"/>
                </a:lnTo>
                <a:lnTo>
                  <a:pt x="828" y="115"/>
                </a:lnTo>
                <a:lnTo>
                  <a:pt x="828" y="126"/>
                </a:lnTo>
                <a:lnTo>
                  <a:pt x="828" y="138"/>
                </a:lnTo>
                <a:lnTo>
                  <a:pt x="827" y="150"/>
                </a:lnTo>
                <a:lnTo>
                  <a:pt x="826" y="162"/>
                </a:lnTo>
                <a:lnTo>
                  <a:pt x="825" y="175"/>
                </a:lnTo>
                <a:lnTo>
                  <a:pt x="824" y="188"/>
                </a:lnTo>
                <a:lnTo>
                  <a:pt x="822" y="202"/>
                </a:lnTo>
                <a:lnTo>
                  <a:pt x="821" y="216"/>
                </a:lnTo>
                <a:lnTo>
                  <a:pt x="819" y="230"/>
                </a:lnTo>
                <a:lnTo>
                  <a:pt x="816" y="245"/>
                </a:lnTo>
                <a:lnTo>
                  <a:pt x="814" y="260"/>
                </a:lnTo>
                <a:lnTo>
                  <a:pt x="811" y="275"/>
                </a:lnTo>
                <a:lnTo>
                  <a:pt x="808" y="291"/>
                </a:lnTo>
                <a:lnTo>
                  <a:pt x="804" y="307"/>
                </a:lnTo>
                <a:lnTo>
                  <a:pt x="801" y="323"/>
                </a:lnTo>
                <a:lnTo>
                  <a:pt x="797" y="339"/>
                </a:lnTo>
                <a:lnTo>
                  <a:pt x="792" y="354"/>
                </a:lnTo>
                <a:lnTo>
                  <a:pt x="788" y="370"/>
                </a:lnTo>
                <a:lnTo>
                  <a:pt x="783" y="385"/>
                </a:lnTo>
                <a:lnTo>
                  <a:pt x="778" y="401"/>
                </a:lnTo>
                <a:lnTo>
                  <a:pt x="772" y="416"/>
                </a:lnTo>
                <a:lnTo>
                  <a:pt x="767" y="431"/>
                </a:lnTo>
                <a:lnTo>
                  <a:pt x="761" y="446"/>
                </a:lnTo>
                <a:lnTo>
                  <a:pt x="754" y="461"/>
                </a:lnTo>
                <a:lnTo>
                  <a:pt x="748" y="476"/>
                </a:lnTo>
                <a:lnTo>
                  <a:pt x="741" y="491"/>
                </a:lnTo>
                <a:lnTo>
                  <a:pt x="734" y="506"/>
                </a:lnTo>
                <a:lnTo>
                  <a:pt x="726" y="520"/>
                </a:lnTo>
                <a:lnTo>
                  <a:pt x="718" y="535"/>
                </a:lnTo>
                <a:lnTo>
                  <a:pt x="710" y="549"/>
                </a:lnTo>
                <a:lnTo>
                  <a:pt x="702" y="563"/>
                </a:lnTo>
                <a:lnTo>
                  <a:pt x="694" y="577"/>
                </a:lnTo>
                <a:lnTo>
                  <a:pt x="686" y="590"/>
                </a:lnTo>
                <a:lnTo>
                  <a:pt x="677" y="604"/>
                </a:lnTo>
                <a:lnTo>
                  <a:pt x="669" y="617"/>
                </a:lnTo>
                <a:lnTo>
                  <a:pt x="660" y="629"/>
                </a:lnTo>
                <a:lnTo>
                  <a:pt x="651" y="641"/>
                </a:lnTo>
                <a:lnTo>
                  <a:pt x="642" y="654"/>
                </a:lnTo>
                <a:lnTo>
                  <a:pt x="633" y="665"/>
                </a:lnTo>
                <a:lnTo>
                  <a:pt x="624" y="677"/>
                </a:lnTo>
                <a:lnTo>
                  <a:pt x="615" y="688"/>
                </a:lnTo>
                <a:lnTo>
                  <a:pt x="605" y="699"/>
                </a:lnTo>
                <a:lnTo>
                  <a:pt x="596" y="709"/>
                </a:lnTo>
                <a:lnTo>
                  <a:pt x="586" y="720"/>
                </a:lnTo>
                <a:lnTo>
                  <a:pt x="577" y="730"/>
                </a:lnTo>
                <a:lnTo>
                  <a:pt x="567" y="740"/>
                </a:lnTo>
                <a:lnTo>
                  <a:pt x="558" y="749"/>
                </a:lnTo>
                <a:lnTo>
                  <a:pt x="549" y="758"/>
                </a:lnTo>
                <a:lnTo>
                  <a:pt x="540" y="766"/>
                </a:lnTo>
                <a:lnTo>
                  <a:pt x="531" y="774"/>
                </a:lnTo>
                <a:lnTo>
                  <a:pt x="523" y="782"/>
                </a:lnTo>
                <a:lnTo>
                  <a:pt x="515" y="789"/>
                </a:lnTo>
                <a:lnTo>
                  <a:pt x="507" y="796"/>
                </a:lnTo>
                <a:lnTo>
                  <a:pt x="500" y="803"/>
                </a:lnTo>
                <a:lnTo>
                  <a:pt x="493" y="809"/>
                </a:lnTo>
                <a:lnTo>
                  <a:pt x="486" y="815"/>
                </a:lnTo>
                <a:lnTo>
                  <a:pt x="479" y="820"/>
                </a:lnTo>
                <a:lnTo>
                  <a:pt x="473" y="825"/>
                </a:lnTo>
                <a:lnTo>
                  <a:pt x="467" y="829"/>
                </a:lnTo>
                <a:lnTo>
                  <a:pt x="461" y="833"/>
                </a:lnTo>
                <a:lnTo>
                  <a:pt x="455" y="837"/>
                </a:lnTo>
                <a:lnTo>
                  <a:pt x="450" y="840"/>
                </a:lnTo>
                <a:lnTo>
                  <a:pt x="445" y="844"/>
                </a:lnTo>
                <a:lnTo>
                  <a:pt x="441" y="847"/>
                </a:lnTo>
                <a:lnTo>
                  <a:pt x="437" y="849"/>
                </a:lnTo>
                <a:lnTo>
                  <a:pt x="433" y="852"/>
                </a:lnTo>
                <a:lnTo>
                  <a:pt x="429" y="854"/>
                </a:lnTo>
                <a:lnTo>
                  <a:pt x="426" y="856"/>
                </a:lnTo>
                <a:lnTo>
                  <a:pt x="423" y="858"/>
                </a:lnTo>
                <a:lnTo>
                  <a:pt x="421" y="859"/>
                </a:lnTo>
                <a:lnTo>
                  <a:pt x="418" y="861"/>
                </a:lnTo>
                <a:lnTo>
                  <a:pt x="417" y="862"/>
                </a:lnTo>
                <a:lnTo>
                  <a:pt x="415" y="863"/>
                </a:lnTo>
                <a:lnTo>
                  <a:pt x="414" y="864"/>
                </a:lnTo>
                <a:lnTo>
                  <a:pt x="413" y="864"/>
                </a:lnTo>
                <a:lnTo>
                  <a:pt x="412" y="864"/>
                </a:lnTo>
                <a:lnTo>
                  <a:pt x="410" y="863"/>
                </a:lnTo>
                <a:lnTo>
                  <a:pt x="409" y="861"/>
                </a:lnTo>
                <a:lnTo>
                  <a:pt x="407" y="860"/>
                </a:lnTo>
                <a:lnTo>
                  <a:pt x="404" y="858"/>
                </a:lnTo>
                <a:lnTo>
                  <a:pt x="401" y="855"/>
                </a:lnTo>
                <a:lnTo>
                  <a:pt x="397" y="853"/>
                </a:lnTo>
                <a:lnTo>
                  <a:pt x="393" y="850"/>
                </a:lnTo>
                <a:lnTo>
                  <a:pt x="388" y="846"/>
                </a:lnTo>
                <a:lnTo>
                  <a:pt x="383" y="842"/>
                </a:lnTo>
                <a:lnTo>
                  <a:pt x="377" y="838"/>
                </a:lnTo>
                <a:lnTo>
                  <a:pt x="371" y="834"/>
                </a:lnTo>
                <a:lnTo>
                  <a:pt x="364" y="829"/>
                </a:lnTo>
                <a:lnTo>
                  <a:pt x="357" y="823"/>
                </a:lnTo>
                <a:lnTo>
                  <a:pt x="349" y="818"/>
                </a:lnTo>
                <a:lnTo>
                  <a:pt x="341" y="812"/>
                </a:lnTo>
                <a:lnTo>
                  <a:pt x="333" y="806"/>
                </a:lnTo>
                <a:lnTo>
                  <a:pt x="325" y="799"/>
                </a:lnTo>
                <a:lnTo>
                  <a:pt x="316" y="792"/>
                </a:lnTo>
                <a:lnTo>
                  <a:pt x="308" y="785"/>
                </a:lnTo>
                <a:lnTo>
                  <a:pt x="300" y="777"/>
                </a:lnTo>
                <a:lnTo>
                  <a:pt x="291" y="769"/>
                </a:lnTo>
                <a:lnTo>
                  <a:pt x="282" y="761"/>
                </a:lnTo>
                <a:lnTo>
                  <a:pt x="273" y="752"/>
                </a:lnTo>
                <a:lnTo>
                  <a:pt x="265" y="743"/>
                </a:lnTo>
                <a:lnTo>
                  <a:pt x="256" y="734"/>
                </a:lnTo>
                <a:lnTo>
                  <a:pt x="247" y="725"/>
                </a:lnTo>
                <a:lnTo>
                  <a:pt x="237" y="715"/>
                </a:lnTo>
                <a:lnTo>
                  <a:pt x="228" y="704"/>
                </a:lnTo>
                <a:lnTo>
                  <a:pt x="219" y="694"/>
                </a:lnTo>
                <a:lnTo>
                  <a:pt x="209" y="683"/>
                </a:lnTo>
                <a:lnTo>
                  <a:pt x="200" y="672"/>
                </a:lnTo>
                <a:lnTo>
                  <a:pt x="191" y="660"/>
                </a:lnTo>
                <a:lnTo>
                  <a:pt x="182" y="649"/>
                </a:lnTo>
                <a:lnTo>
                  <a:pt x="173" y="638"/>
                </a:lnTo>
                <a:lnTo>
                  <a:pt x="165" y="626"/>
                </a:lnTo>
                <a:lnTo>
                  <a:pt x="156" y="615"/>
                </a:lnTo>
                <a:lnTo>
                  <a:pt x="148" y="603"/>
                </a:lnTo>
                <a:lnTo>
                  <a:pt x="141" y="591"/>
                </a:lnTo>
                <a:lnTo>
                  <a:pt x="133" y="579"/>
                </a:lnTo>
                <a:lnTo>
                  <a:pt x="126" y="567"/>
                </a:lnTo>
                <a:lnTo>
                  <a:pt x="118" y="555"/>
                </a:lnTo>
                <a:lnTo>
                  <a:pt x="111" y="543"/>
                </a:lnTo>
                <a:lnTo>
                  <a:pt x="105" y="531"/>
                </a:lnTo>
                <a:lnTo>
                  <a:pt x="98" y="519"/>
                </a:lnTo>
                <a:lnTo>
                  <a:pt x="92" y="506"/>
                </a:lnTo>
                <a:lnTo>
                  <a:pt x="86" y="494"/>
                </a:lnTo>
                <a:lnTo>
                  <a:pt x="80" y="482"/>
                </a:lnTo>
                <a:lnTo>
                  <a:pt x="75" y="469"/>
                </a:lnTo>
                <a:lnTo>
                  <a:pt x="69" y="456"/>
                </a:lnTo>
                <a:lnTo>
                  <a:pt x="64" y="444"/>
                </a:lnTo>
                <a:lnTo>
                  <a:pt x="59" y="431"/>
                </a:lnTo>
                <a:lnTo>
                  <a:pt x="54" y="418"/>
                </a:lnTo>
                <a:lnTo>
                  <a:pt x="50" y="406"/>
                </a:lnTo>
                <a:lnTo>
                  <a:pt x="45" y="393"/>
                </a:lnTo>
                <a:lnTo>
                  <a:pt x="41" y="380"/>
                </a:lnTo>
                <a:lnTo>
                  <a:pt x="37" y="367"/>
                </a:lnTo>
                <a:lnTo>
                  <a:pt x="34" y="354"/>
                </a:lnTo>
                <a:lnTo>
                  <a:pt x="30" y="341"/>
                </a:lnTo>
                <a:lnTo>
                  <a:pt x="27" y="328"/>
                </a:lnTo>
                <a:lnTo>
                  <a:pt x="24" y="315"/>
                </a:lnTo>
                <a:lnTo>
                  <a:pt x="21" y="302"/>
                </a:lnTo>
                <a:lnTo>
                  <a:pt x="18" y="289"/>
                </a:lnTo>
                <a:lnTo>
                  <a:pt x="16" y="276"/>
                </a:lnTo>
                <a:lnTo>
                  <a:pt x="13" y="263"/>
                </a:lnTo>
                <a:lnTo>
                  <a:pt x="11" y="250"/>
                </a:lnTo>
                <a:lnTo>
                  <a:pt x="9" y="237"/>
                </a:lnTo>
                <a:lnTo>
                  <a:pt x="7" y="224"/>
                </a:lnTo>
                <a:lnTo>
                  <a:pt x="6" y="212"/>
                </a:lnTo>
                <a:lnTo>
                  <a:pt x="4" y="199"/>
                </a:lnTo>
                <a:lnTo>
                  <a:pt x="3" y="187"/>
                </a:lnTo>
                <a:lnTo>
                  <a:pt x="2" y="175"/>
                </a:lnTo>
                <a:lnTo>
                  <a:pt x="2" y="162"/>
                </a:lnTo>
                <a:lnTo>
                  <a:pt x="1" y="150"/>
                </a:lnTo>
                <a:lnTo>
                  <a:pt x="0" y="138"/>
                </a:lnTo>
                <a:lnTo>
                  <a:pt x="0" y="126"/>
                </a:lnTo>
                <a:lnTo>
                  <a:pt x="0" y="115"/>
                </a:lnTo>
                <a:lnTo>
                  <a:pt x="0" y="103"/>
                </a:lnTo>
                <a:lnTo>
                  <a:pt x="1" y="92"/>
                </a:lnTo>
                <a:lnTo>
                  <a:pt x="1" y="80"/>
                </a:lnTo>
                <a:lnTo>
                  <a:pt x="1" y="70"/>
                </a:lnTo>
                <a:lnTo>
                  <a:pt x="2" y="60"/>
                </a:lnTo>
                <a:lnTo>
                  <a:pt x="2" y="51"/>
                </a:lnTo>
                <a:lnTo>
                  <a:pt x="2" y="43"/>
                </a:lnTo>
                <a:lnTo>
                  <a:pt x="3" y="36"/>
                </a:lnTo>
                <a:lnTo>
                  <a:pt x="3" y="29"/>
                </a:lnTo>
                <a:lnTo>
                  <a:pt x="3" y="23"/>
                </a:lnTo>
                <a:lnTo>
                  <a:pt x="3" y="17"/>
                </a:lnTo>
                <a:lnTo>
                  <a:pt x="4" y="13"/>
                </a:lnTo>
                <a:lnTo>
                  <a:pt x="4" y="9"/>
                </a:lnTo>
                <a:lnTo>
                  <a:pt x="4" y="5"/>
                </a:lnTo>
                <a:lnTo>
                  <a:pt x="4" y="3"/>
                </a:lnTo>
                <a:lnTo>
                  <a:pt x="4" y="1"/>
                </a:lnTo>
                <a:lnTo>
                  <a:pt x="4" y="0"/>
                </a:lnTo>
                <a:lnTo>
                  <a:pt x="5" y="0"/>
                </a:lnTo>
                <a:lnTo>
                  <a:pt x="7" y="1"/>
                </a:lnTo>
                <a:lnTo>
                  <a:pt x="9" y="2"/>
                </a:lnTo>
                <a:lnTo>
                  <a:pt x="12" y="3"/>
                </a:lnTo>
                <a:lnTo>
                  <a:pt x="15" y="5"/>
                </a:lnTo>
                <a:lnTo>
                  <a:pt x="19" y="6"/>
                </a:lnTo>
                <a:lnTo>
                  <a:pt x="24" y="9"/>
                </a:lnTo>
                <a:lnTo>
                  <a:pt x="30" y="11"/>
                </a:lnTo>
                <a:lnTo>
                  <a:pt x="36" y="14"/>
                </a:lnTo>
                <a:lnTo>
                  <a:pt x="42" y="16"/>
                </a:lnTo>
                <a:lnTo>
                  <a:pt x="49" y="20"/>
                </a:lnTo>
                <a:lnTo>
                  <a:pt x="57" y="23"/>
                </a:lnTo>
                <a:lnTo>
                  <a:pt x="66" y="27"/>
                </a:lnTo>
                <a:lnTo>
                  <a:pt x="75" y="31"/>
                </a:lnTo>
                <a:lnTo>
                  <a:pt x="85" y="3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786" tIns="46398" rIns="92786" bIns="4639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401752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oleObject" Target="../embeddings/oleObject18.bin"/><Relationship Id="rId2" Type="http://schemas.openxmlformats.org/officeDocument/2006/relationships/slideLayout" Target="../slideLayouts/slideLayout116.xml"/><Relationship Id="rId16" Type="http://schemas.openxmlformats.org/officeDocument/2006/relationships/tags" Target="../tags/tag51.xml"/><Relationship Id="rId20" Type="http://schemas.openxmlformats.org/officeDocument/2006/relationships/image" Target="../media/image9.jpeg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24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slideLayout" Target="../slideLayouts/slideLayout131.xml"/><Relationship Id="rId7" Type="http://schemas.openxmlformats.org/officeDocument/2006/relationships/oleObject" Target="../embeddings/oleObject23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35.emf"/><Relationship Id="rId4" Type="http://schemas.openxmlformats.org/officeDocument/2006/relationships/theme" Target="../theme/theme11.xml"/><Relationship Id="rId9" Type="http://schemas.openxmlformats.org/officeDocument/2006/relationships/image" Target="../media/image34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oleObject" Target="../embeddings/oleObject27.bin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80.xml"/><Relationship Id="rId20" Type="http://schemas.openxmlformats.org/officeDocument/2006/relationships/image" Target="../media/image9.jpeg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1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theme" Target="../theme/theme13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image" Target="../media/image39.jpeg"/><Relationship Id="rId2" Type="http://schemas.openxmlformats.org/officeDocument/2006/relationships/slideLayout" Target="../slideLayouts/slideLayout14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tags" Target="../tags/tag10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4.xml"/><Relationship Id="rId20" Type="http://schemas.openxmlformats.org/officeDocument/2006/relationships/image" Target="../media/image9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40.xml"/><Relationship Id="rId21" Type="http://schemas.openxmlformats.org/officeDocument/2006/relationships/image" Target="../media/image9.jpeg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39.xml"/><Relationship Id="rId16" Type="http://schemas.openxmlformats.org/officeDocument/2006/relationships/theme" Target="../theme/theme4.xml"/><Relationship Id="rId20" Type="http://schemas.openxmlformats.org/officeDocument/2006/relationships/image" Target="../media/image8.jpe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5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ags" Target="../tags/tag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6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6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ags" Target="../tags/tag2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heme" Target="../theme/theme7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7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ags" Target="../tags/tag2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90.xml"/><Relationship Id="rId16" Type="http://schemas.openxmlformats.org/officeDocument/2006/relationships/tags" Target="../tags/tag29.xml"/><Relationship Id="rId20" Type="http://schemas.openxmlformats.org/officeDocument/2006/relationships/image" Target="../media/image9.jpe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8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theme" Target="../theme/theme9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oleObject" Target="../embeddings/oleObject17.bin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tags" Target="../tags/tag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649FB3-3DFE-2714-35F8-3E60D9775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60052690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649FB3-3DFE-2714-35F8-3E60D9775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50" name="Group 150"/>
          <p:cNvGrpSpPr>
            <a:grpSpLocks/>
          </p:cNvGrpSpPr>
          <p:nvPr/>
        </p:nvGrpSpPr>
        <p:grpSpPr bwMode="auto">
          <a:xfrm>
            <a:off x="-6348" y="0"/>
            <a:ext cx="12198351" cy="6858000"/>
            <a:chOff x="-3" y="0"/>
            <a:chExt cx="5763" cy="4320"/>
          </a:xfrm>
        </p:grpSpPr>
        <p:pic>
          <p:nvPicPr>
            <p:cNvPr id="2098" name="Picture 148" descr="logo small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99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pic>
          <p:nvPicPr>
            <p:cNvPr id="2100" name="Picture 23" descr="dd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01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2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1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3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4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5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6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7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8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09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0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1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2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3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4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5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6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7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8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19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19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0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1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2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3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4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5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6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7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8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20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29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0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1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2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3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4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5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6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7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8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21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39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40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141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</p:grpSp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grpSp>
        <p:nvGrpSpPr>
          <p:cNvPr id="2053" name="Group 150"/>
          <p:cNvGrpSpPr>
            <a:grpSpLocks/>
          </p:cNvGrpSpPr>
          <p:nvPr/>
        </p:nvGrpSpPr>
        <p:grpSpPr bwMode="auto">
          <a:xfrm>
            <a:off x="-6348" y="0"/>
            <a:ext cx="12198351" cy="6858000"/>
            <a:chOff x="-3" y="0"/>
            <a:chExt cx="5763" cy="4320"/>
          </a:xfrm>
        </p:grpSpPr>
        <p:pic>
          <p:nvPicPr>
            <p:cNvPr id="2054" name="Picture 148" descr="logo small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55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pic>
          <p:nvPicPr>
            <p:cNvPr id="2056" name="Picture 23" descr="dd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57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58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1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59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0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1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2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3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4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5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6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7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8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69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0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1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2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3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4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19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5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6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7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8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79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0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1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2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3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4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20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5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6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7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8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89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0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1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2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3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4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21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5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6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  <p:sp>
          <p:nvSpPr>
            <p:cNvPr id="2097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463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800"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00CFB1-1639-595E-2A1A-15E265F155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3001997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00CFB1-1639-595E-2A1A-15E265F15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72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121901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99" y="166691"/>
            <a:ext cx="869315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9" y="1263650"/>
            <a:ext cx="11171767" cy="518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77" y="6453195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B0313F5-B3AF-4949-A409-E3A57EEA434E}" type="datetime1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26/03/18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28" y="6453195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 algn="r">
              <a:defRPr sz="75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3D3D17-118C-4274-BE08-EBE413621F86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46800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5pPr>
      <a:lvl6pPr marL="340975" algn="l" rtl="0" fontAlgn="base">
        <a:lnSpc>
          <a:spcPct val="85000"/>
        </a:lnSpc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  <a:cs typeface="Arial" charset="0"/>
        </a:defRPr>
      </a:lvl6pPr>
      <a:lvl7pPr marL="681959" algn="l" rtl="0" fontAlgn="base">
        <a:lnSpc>
          <a:spcPct val="85000"/>
        </a:lnSpc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  <a:cs typeface="Arial" charset="0"/>
        </a:defRPr>
      </a:lvl7pPr>
      <a:lvl8pPr marL="1022937" algn="l" rtl="0" fontAlgn="base">
        <a:lnSpc>
          <a:spcPct val="85000"/>
        </a:lnSpc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  <a:cs typeface="Arial" charset="0"/>
        </a:defRPr>
      </a:lvl8pPr>
      <a:lvl9pPr marL="1363916" algn="l" rtl="0" fontAlgn="base">
        <a:lnSpc>
          <a:spcPct val="85000"/>
        </a:lnSpc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198905" indent="-19890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500">
          <a:solidFill>
            <a:srgbClr val="003896"/>
          </a:solidFill>
          <a:latin typeface="+mn-lt"/>
          <a:ea typeface="+mn-ea"/>
          <a:cs typeface="+mn-cs"/>
        </a:defRPr>
      </a:lvl1pPr>
      <a:lvl2pPr marL="535152" indent="-20245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802723" indent="-133789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3pPr>
      <a:lvl4pPr marL="1070301" indent="-133789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4pPr>
      <a:lvl5pPr marL="1337869" indent="-133789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5pPr>
      <a:lvl6pPr marL="1678847" indent="-133789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6pPr>
      <a:lvl7pPr marL="2019827" indent="-133789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7pPr>
      <a:lvl8pPr marL="2360806" indent="-133789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8pPr>
      <a:lvl9pPr marL="2701787" indent="-133789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0975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1959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2937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3916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04893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45876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86855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27832" algn="l" defTabSz="68195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01830346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6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6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6" y="6356356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5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9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21826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69" r:id="rId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D3E88"/>
        </a:buClr>
        <a:buFont typeface="Calibri" panose="020F0502020204030204" pitchFamily="34" charset="0"/>
        <a:buChar char="-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Ø"/>
        <a:defRPr sz="105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41D40A-E0CD-02F9-7085-3E1740703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49871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41D40A-E0CD-02F9-7085-3E1740703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68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121901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95" y="166691"/>
            <a:ext cx="869315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263650"/>
            <a:ext cx="11171767" cy="518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73" y="6453189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B0313F5-B3AF-4949-A409-E3A57EEA434E}" type="datetime1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26/03/18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26" y="6453189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3D3D17-118C-4274-BE08-EBE413621F86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91649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4633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09278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63916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1855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5207" indent="-265207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3536" indent="-26994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0297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3pPr>
      <a:lvl4pPr marL="1427068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4pPr>
      <a:lvl5pPr marL="1783825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5pPr>
      <a:lvl6pPr marL="2238463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6pPr>
      <a:lvl7pPr marL="2693102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7pPr>
      <a:lvl8pPr marL="3147741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8pPr>
      <a:lvl9pPr marL="3602383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633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78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916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554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3191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834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473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7109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66ABF0-5D8B-7937-EACB-A38E4BCD2E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618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66ABF0-5D8B-7937-EACB-A38E4BCD2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189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82B422C-0F6B-4D09-92D5-DBF31CCA378B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1041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FB8B15-34B2-412C-0096-FA3E5B9786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472866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FB8B15-34B2-412C-0096-FA3E5B978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9" y="6453247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51299A-EAAF-4EF1-881B-C9F98AC8A14E}" type="datetime3">
              <a:rPr lang="en-US" smtClean="0"/>
              <a:t>18 March 2026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247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811846-707A-40BD-8499-7B9295AC337E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5721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28D18A-E064-DAF7-1F53-739D0CD9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3129862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28D18A-E064-DAF7-1F53-739D0CD9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72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121901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99" y="166691"/>
            <a:ext cx="869315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263650"/>
            <a:ext cx="11171767" cy="518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75" y="6453247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E7FED53-9179-417E-90F8-5AC7A64790B9}" type="datetime3">
              <a:rPr lang="en-US" smtClean="0"/>
              <a:t>18 March 2026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28" y="6453247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3D3D17-118C-4274-BE08-EBE413621F86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4452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4633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09278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63916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1855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5207" indent="-265207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3536" indent="-26994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0297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3pPr>
      <a:lvl4pPr marL="1427068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4pPr>
      <a:lvl5pPr marL="1783825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5pPr>
      <a:lvl6pPr marL="2238463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6pPr>
      <a:lvl7pPr marL="2693102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7pPr>
      <a:lvl8pPr marL="3147741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8pPr>
      <a:lvl9pPr marL="3602383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633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78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916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554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3191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834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473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7109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CD538A-EDB8-8E5D-F987-9FD928B280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7619233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CD538A-EDB8-8E5D-F987-9FD928B280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482" name="Picture 43" descr="logo small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17" descr="topsolid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itle style</a:t>
            </a:r>
          </a:p>
        </p:txBody>
      </p:sp>
      <p:sp>
        <p:nvSpPr>
          <p:cNvPr id="2048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9" y="6453247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83725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90A511-4F4C-453C-8598-60A02AF05D49}" type="datetime3">
              <a:rPr lang="en-US" altLang="en-US" smtClean="0"/>
              <a:t>18 March 2026</a:t>
            </a:fld>
            <a:endParaRPr lang="en-ZA" altLang="en-US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94" y="6453247"/>
            <a:ext cx="383963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 b="0">
                <a:solidFill>
                  <a:srgbClr val="83725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 altLang="en-US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20" y="6453247"/>
            <a:ext cx="220133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83725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470E38D-165C-41A5-A897-8C2A18ED46C3}" type="slidenum">
              <a:rPr lang="en-ZA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954023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9F313C-9320-DB72-B4F6-B88A680D17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73070000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9F313C-9320-DB72-B4F6-B88A680D1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9" y="6453247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AF244C-6D21-43B3-B999-8D592FE79990}" type="datetime3">
              <a:rPr lang="en-US" smtClean="0"/>
              <a:t>18 March 2026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247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28F455E-7405-4FDC-83CD-DA8529BE5E0D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08042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ransition spd="slow">
    <p:fade/>
  </p:transition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FFCE43-3BF8-52E4-2642-2E5987F26A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81911557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FFCE43-3BF8-52E4-2642-2E5987F26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458" name="Picture 43" descr="logo small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17" descr="topsolid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itle style</a:t>
            </a:r>
          </a:p>
        </p:txBody>
      </p:sp>
      <p:sp>
        <p:nvSpPr>
          <p:cNvPr id="1946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9" y="6453247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0A96EA-B4C1-4522-AEA4-1716CF84DF64}" type="datetime3">
              <a:rPr lang="en-US" smtClean="0"/>
              <a:t>18 March 2026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247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 b="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9B51B5-93B0-4B9D-9B33-AD65F247E0F2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63510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51246A-C16A-C23A-C90A-458AB00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17932770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51246A-C16A-C23A-C90A-458AB00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9" y="6453243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3EFE87-9BBD-4734-B5D9-12E0828664EF}" type="datetime3">
              <a:rPr lang="en-US" smtClean="0"/>
              <a:t>18 March 2026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243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E21055-C674-480F-81F8-D72A8ECB56CE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08824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</p:sldLayoutIdLst>
  <p:transition spd="slow">
    <p:fade/>
  </p:transition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6E6C85-8EDB-E72C-8082-CC54848B1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50026614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6E6C85-8EDB-E72C-8082-CC54848B1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72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121901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99" y="166691"/>
            <a:ext cx="869315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99" y="1263650"/>
            <a:ext cx="11171767" cy="518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28" tIns="45467" rIns="90928" bIns="454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79" y="6453231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B0313F5-B3AF-4949-A409-E3A57EEA434E}" type="datetime1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26/03/18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28" y="6453231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0928" tIns="45467" rIns="90928" bIns="45467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3D3D17-118C-4274-BE08-EBE413621F86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57465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4633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09278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63916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1855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5207" indent="-265207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3536" indent="-26994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0297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3pPr>
      <a:lvl4pPr marL="1427068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4pPr>
      <a:lvl5pPr marL="1783825" indent="-17838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5pPr>
      <a:lvl6pPr marL="2238463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6pPr>
      <a:lvl7pPr marL="2693102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7pPr>
      <a:lvl8pPr marL="3147741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8pPr>
      <a:lvl9pPr marL="3602383" indent="-178385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633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78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916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554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3191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834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473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7109" algn="l" defTabSz="909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57CA8C-DB1F-9B4F-EAD8-0977B237A6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534668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57CA8C-DB1F-9B4F-EAD8-0977B237A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692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9" y="6453243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3EFE87-9BBD-4734-B5D9-12E0828664EF}" type="datetime3">
              <a:rPr lang="en-US" smtClean="0"/>
              <a:t>18 March 2026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243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E21055-C674-480F-81F8-D72A8ECB56CE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08824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</p:sldLayoutIdLst>
  <p:transition spd="slow">
    <p:fade/>
  </p:transition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D896258-C4F6-FE63-0CFE-306847F5FE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39837" y="1253174"/>
            <a:ext cx="6877313" cy="1274598"/>
          </a:xfrm>
        </p:spPr>
        <p:txBody>
          <a:bodyPr>
            <a:noAutofit/>
          </a:bodyPr>
          <a:lstStyle/>
          <a:p>
            <a:pPr algn="ctr"/>
            <a:r>
              <a:rPr lang="en-US" sz="2000" b="1" dirty="0"/>
              <a:t>Clarification Meeting </a:t>
            </a:r>
            <a:br>
              <a:rPr lang="en-US" sz="2000" b="1" dirty="0"/>
            </a:br>
            <a:r>
              <a:rPr lang="en-US" sz="2000" b="1" dirty="0"/>
              <a:t> Provision of Tax Health Assessment Review at Eskom Holdings SOC Ltd and National Transmission Company South Africa (NTCSA) SOC Ltd</a:t>
            </a:r>
            <a:r>
              <a:rPr lang="en-US" sz="1800" b="1" dirty="0"/>
              <a:t>.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84E2FA21-C7E5-E790-535A-FFC8AB67C9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2982208"/>
            <a:ext cx="4229806" cy="327025"/>
          </a:xfrm>
        </p:spPr>
        <p:txBody>
          <a:bodyPr/>
          <a:lstStyle/>
          <a:p>
            <a:r>
              <a:rPr lang="en-US" sz="1800" dirty="0"/>
              <a:t>Presented by: Bulelwa Mabuy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007D-EDEF-F902-7F72-AB3FAE6A94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b="1" dirty="0"/>
              <a:t>18 March 2026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E5F77460-8E9F-1567-7170-702027539AA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ellipse">
            <a:avLst/>
          </a:prstGeom>
        </p:spPr>
      </p:pic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22F19F1E-CB43-D25A-2C75-6E321D77C0C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5524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9EC89-9169-6AB4-887B-E140282FA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Key components of the scope of work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9A5CFEA-571D-F47C-936F-42459BB629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0800101"/>
              </p:ext>
            </p:extLst>
          </p:nvPr>
        </p:nvGraphicFramePr>
        <p:xfrm>
          <a:off x="361685" y="2628812"/>
          <a:ext cx="11383962" cy="35176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8254">
                  <a:extLst>
                    <a:ext uri="{9D8B030D-6E8A-4147-A177-3AD203B41FA5}">
                      <a16:colId xmlns:a16="http://schemas.microsoft.com/office/drawing/2014/main" val="3261798501"/>
                    </a:ext>
                  </a:extLst>
                </a:gridCol>
                <a:gridCol w="6645708">
                  <a:extLst>
                    <a:ext uri="{9D8B030D-6E8A-4147-A177-3AD203B41FA5}">
                      <a16:colId xmlns:a16="http://schemas.microsoft.com/office/drawing/2014/main" val="14017711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2000" dirty="0"/>
                    </a:p>
                    <a:p>
                      <a:r>
                        <a:rPr lang="en-ZA" sz="2000" dirty="0"/>
                        <a:t>ESKOM HOLDINGS SOC L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r>
                        <a:rPr lang="en-ZA" sz="1800" dirty="0"/>
                        <a:t>NATIONAL TRANSMISSION COMPANY SOUTH AFRICA SOC LT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71947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Income Tax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come Tax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0543042"/>
                  </a:ext>
                </a:extLst>
              </a:tr>
              <a:tr h="446765">
                <a:tc>
                  <a:txBody>
                    <a:bodyPr/>
                    <a:lstStyle/>
                    <a:p>
                      <a:r>
                        <a:rPr lang="en-US" sz="1800" dirty="0"/>
                        <a:t>VAT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VAT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9580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PAYE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PAYE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4823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Customs Duties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Customs Duties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3309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Environmental Levy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8153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Carbon Tax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2752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Withholding tax on interest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616491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02DF7CD-AC84-80AA-159E-1C1D32CFF36B}"/>
              </a:ext>
            </a:extLst>
          </p:cNvPr>
          <p:cNvSpPr txBox="1"/>
          <p:nvPr/>
        </p:nvSpPr>
        <p:spPr>
          <a:xfrm>
            <a:off x="361685" y="1099456"/>
            <a:ext cx="1124248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Analysing transactions using advance data analytics and technology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iew of records and return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iew of current tax planning strategie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Compliance review</a:t>
            </a:r>
          </a:p>
        </p:txBody>
      </p:sp>
    </p:spTree>
    <p:extLst>
      <p:ext uri="{BB962C8B-B14F-4D97-AF65-F5344CB8AC3E}">
        <p14:creationId xmlns:p14="http://schemas.microsoft.com/office/powerpoint/2010/main" val="949693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5" y="148619"/>
            <a:ext cx="9511777" cy="666000"/>
          </a:xfrm>
        </p:spPr>
        <p:txBody>
          <a:bodyPr/>
          <a:lstStyle/>
          <a:p>
            <a:r>
              <a:rPr lang="en-US" sz="2400" dirty="0"/>
              <a:t>Technical evaluation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FB17179-D8C4-0257-8864-05F2721034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r>
              <a:rPr lang="en-US" dirty="0">
                <a:solidFill>
                  <a:srgbClr val="003896">
                    <a:tint val="75000"/>
                  </a:srgbClr>
                </a:solidFill>
              </a:rPr>
              <a:t>Tax Health Assessment</a:t>
            </a:r>
            <a:endParaRPr lang="en-ZA" dirty="0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AA7AAA-6E3B-D37C-1F87-DF5919800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fld id="{56B1497D-D85C-49F0-B0C9-9C5FED4EAE9E}" type="slidenum">
              <a:rPr lang="en-ZA">
                <a:solidFill>
                  <a:srgbClr val="003896">
                    <a:tint val="75000"/>
                  </a:srgbClr>
                </a:solidFill>
              </a:rPr>
              <a:pPr defTabSz="685800">
                <a:defRPr/>
              </a:pPr>
              <a:t>3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EFDB277-786D-D230-623C-979E40097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09" y="4316299"/>
            <a:ext cx="160324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9E08A3-FEE0-0D15-9702-72F86E7215BB}"/>
              </a:ext>
            </a:extLst>
          </p:cNvPr>
          <p:cNvSpPr txBox="1"/>
          <p:nvPr/>
        </p:nvSpPr>
        <p:spPr>
          <a:xfrm>
            <a:off x="457200" y="1469571"/>
            <a:ext cx="10695904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2000" b="1" dirty="0"/>
              <a:t>Gate keeper</a:t>
            </a:r>
          </a:p>
          <a:p>
            <a:endParaRPr lang="en-ZA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/>
              <a:t>Mandatory requirement that the parties involved are Registered Tax Practitio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/>
              <a:t>Requirement to provide Registration Numbers of the tax practitioners intended to be used in the employment of the tender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/>
              <a:t>Bidders who do not meet the mandatory requirements will not go through to the next evaluation stage.</a:t>
            </a:r>
          </a:p>
          <a:p>
            <a:endParaRPr lang="en-ZA" dirty="0"/>
          </a:p>
          <a:p>
            <a:r>
              <a:rPr lang="en-ZA" sz="2000" b="1" dirty="0"/>
              <a:t>Minimum score ca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/>
              <a:t>Tenderers must obtain a minimum of 80% score to qualify for further evaluations. Tenderers that fail to meet 80% threshold will be disqualified. </a:t>
            </a:r>
          </a:p>
        </p:txBody>
      </p:sp>
    </p:spTree>
    <p:extLst>
      <p:ext uri="{BB962C8B-B14F-4D97-AF65-F5344CB8AC3E}">
        <p14:creationId xmlns:p14="http://schemas.microsoft.com/office/powerpoint/2010/main" val="2745862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03646E-927D-09EB-D31A-B3C273F11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45E28-6E18-CBE8-E1BA-E7BA73F14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5" y="148619"/>
            <a:ext cx="9511777" cy="666000"/>
          </a:xfrm>
        </p:spPr>
        <p:txBody>
          <a:bodyPr/>
          <a:lstStyle/>
          <a:p>
            <a:r>
              <a:rPr lang="en-US" sz="2400" dirty="0"/>
              <a:t>Technical evaluation – cont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89D29BF-9EBB-9613-1AEF-4862AEED3D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r>
              <a:rPr lang="en-US" dirty="0">
                <a:solidFill>
                  <a:srgbClr val="003896">
                    <a:tint val="75000"/>
                  </a:srgbClr>
                </a:solidFill>
              </a:rPr>
              <a:t>Tax Health Assessment</a:t>
            </a:r>
            <a:endParaRPr lang="en-ZA" dirty="0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AE3D44D-8F60-8151-1DF1-9232659CEF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fld id="{56B1497D-D85C-49F0-B0C9-9C5FED4EAE9E}" type="slidenum">
              <a:rPr lang="en-ZA">
                <a:solidFill>
                  <a:srgbClr val="003896">
                    <a:tint val="75000"/>
                  </a:srgbClr>
                </a:solidFill>
              </a:rPr>
              <a:pPr defTabSz="685800">
                <a:defRPr/>
              </a:pPr>
              <a:t>4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B99CE65-E517-F1EA-C5A3-569D7AC143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09" y="4316299"/>
            <a:ext cx="160324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A5022D-C885-8FE9-7D1F-C2F77A260A26}"/>
              </a:ext>
            </a:extLst>
          </p:cNvPr>
          <p:cNvSpPr txBox="1"/>
          <p:nvPr/>
        </p:nvSpPr>
        <p:spPr>
          <a:xfrm>
            <a:off x="457200" y="1382286"/>
            <a:ext cx="10695904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2000" b="1" dirty="0"/>
              <a:t>Technical experience</a:t>
            </a:r>
            <a:endParaRPr lang="en-ZA" sz="2000" dirty="0"/>
          </a:p>
          <a:p>
            <a:endParaRPr lang="en-ZA" sz="2000" dirty="0"/>
          </a:p>
          <a:p>
            <a:r>
              <a:rPr lang="en-ZA" sz="2000" dirty="0"/>
              <a:t>The tenderer must have demonstrable experience in using advance data analytics and technology to provide tax health assessments. </a:t>
            </a:r>
          </a:p>
          <a:p>
            <a:r>
              <a:rPr lang="en-ZA" sz="2000" dirty="0"/>
              <a:t>The tenderer must provide a detailed company profile, including, the number of years of experience in providing tax health assessments and the list of benefits derived by the client that is a South African taxpayer company from the tax health assessment.   </a:t>
            </a:r>
          </a:p>
          <a:p>
            <a:pPr lvl="0"/>
            <a:endParaRPr lang="en-ZA" sz="20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more than twenty (20) years (20 points)</a:t>
            </a:r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between fifteen (15) and twenty (20) years (15 points) </a:t>
            </a:r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between ten (10) and fifteen (15) years (10 points) </a:t>
            </a:r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between five (5) and ten (10) years (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below five (5) years (0 points) </a:t>
            </a:r>
          </a:p>
        </p:txBody>
      </p:sp>
    </p:spTree>
    <p:extLst>
      <p:ext uri="{BB962C8B-B14F-4D97-AF65-F5344CB8AC3E}">
        <p14:creationId xmlns:p14="http://schemas.microsoft.com/office/powerpoint/2010/main" val="3534425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506C9-1F8C-D2C8-22F4-16BB3C38E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83C72-9188-F125-E89D-3EA79B0CA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5" y="148619"/>
            <a:ext cx="9511777" cy="666000"/>
          </a:xfrm>
        </p:spPr>
        <p:txBody>
          <a:bodyPr/>
          <a:lstStyle/>
          <a:p>
            <a:r>
              <a:rPr lang="en-US" sz="2400" dirty="0"/>
              <a:t>Technical evaluation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26DDB6A-D89E-BCEA-550B-B9C67EABA0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r>
              <a:rPr lang="en-US" dirty="0">
                <a:solidFill>
                  <a:srgbClr val="003896">
                    <a:tint val="75000"/>
                  </a:srgbClr>
                </a:solidFill>
              </a:rPr>
              <a:t>Tax Health Assessment</a:t>
            </a:r>
            <a:endParaRPr lang="en-ZA" dirty="0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C0C769C-A597-9C92-6448-45A96A907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fld id="{56B1497D-D85C-49F0-B0C9-9C5FED4EAE9E}" type="slidenum">
              <a:rPr lang="en-ZA">
                <a:solidFill>
                  <a:srgbClr val="003896">
                    <a:tint val="75000"/>
                  </a:srgbClr>
                </a:solidFill>
              </a:rPr>
              <a:pPr defTabSz="685800">
                <a:defRPr/>
              </a:pPr>
              <a:t>5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7B25003D-1CB2-259B-DA47-E7D665981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09" y="4316299"/>
            <a:ext cx="160324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810005-DF6E-CE5D-C87B-5C0096F4035C}"/>
              </a:ext>
            </a:extLst>
          </p:cNvPr>
          <p:cNvSpPr txBox="1"/>
          <p:nvPr/>
        </p:nvSpPr>
        <p:spPr>
          <a:xfrm>
            <a:off x="457200" y="1240971"/>
            <a:ext cx="10695904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2000" b="1" dirty="0"/>
              <a:t>Complexity - Revenue:</a:t>
            </a:r>
          </a:p>
          <a:p>
            <a:endParaRPr lang="en-ZA" sz="2000" dirty="0"/>
          </a:p>
          <a:p>
            <a:r>
              <a:rPr lang="en-ZA" sz="2000" dirty="0"/>
              <a:t>The tenderer must have demonstrable experience in the provision of tax health assessment services to large and complex South African taxpayer companies as measured by revenue.   </a:t>
            </a:r>
          </a:p>
          <a:p>
            <a:r>
              <a:rPr lang="en-ZA" sz="2000" dirty="0"/>
              <a:t>The tenderer must provide contactable references (i.e. reference letters on clients’ letterheads) in respect of the provision of tax health assessment services to South African taxpayer companies. </a:t>
            </a:r>
          </a:p>
          <a:p>
            <a:r>
              <a:rPr lang="en-ZA" sz="2000" dirty="0"/>
              <a:t>The tenderer must provide a reference from a client with the highest revenue per their latest audited annual financial statements. </a:t>
            </a:r>
          </a:p>
          <a:p>
            <a:endParaRPr lang="en-ZA" sz="20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enue more than R300bn (30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enue between R200bn and R300bn (2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enue between R100bn and R200bn (20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enue between R50bn and R100bn (1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Revenue below R50bn (10 points) </a:t>
            </a:r>
          </a:p>
        </p:txBody>
      </p:sp>
    </p:spTree>
    <p:extLst>
      <p:ext uri="{BB962C8B-B14F-4D97-AF65-F5344CB8AC3E}">
        <p14:creationId xmlns:p14="http://schemas.microsoft.com/office/powerpoint/2010/main" val="2427155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41212-6469-6128-7C13-45402CD591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FCB17-A186-5D90-034C-721A53740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5" y="148619"/>
            <a:ext cx="9511777" cy="666000"/>
          </a:xfrm>
        </p:spPr>
        <p:txBody>
          <a:bodyPr/>
          <a:lstStyle/>
          <a:p>
            <a:r>
              <a:rPr lang="en-US" sz="2400" dirty="0"/>
              <a:t>Technical evaluation – cont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4E00971-204F-2CB2-B20D-7459309D44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r>
              <a:rPr lang="en-US" dirty="0">
                <a:solidFill>
                  <a:srgbClr val="003896">
                    <a:tint val="75000"/>
                  </a:srgbClr>
                </a:solidFill>
              </a:rPr>
              <a:t>Tax Health Assessment</a:t>
            </a:r>
            <a:endParaRPr lang="en-ZA" dirty="0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3EA0A70-38C9-5344-826E-7C2019AC9D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fld id="{56B1497D-D85C-49F0-B0C9-9C5FED4EAE9E}" type="slidenum">
              <a:rPr lang="en-ZA">
                <a:solidFill>
                  <a:srgbClr val="003896">
                    <a:tint val="75000"/>
                  </a:srgbClr>
                </a:solidFill>
              </a:rPr>
              <a:pPr defTabSz="685800">
                <a:defRPr/>
              </a:pPr>
              <a:t>6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363B3A56-DCA3-D3AC-C5EF-954100E65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09" y="4316299"/>
            <a:ext cx="160324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FC6E37-1520-896A-5E25-A9ADCA09FD7A}"/>
              </a:ext>
            </a:extLst>
          </p:cNvPr>
          <p:cNvSpPr txBox="1"/>
          <p:nvPr/>
        </p:nvSpPr>
        <p:spPr>
          <a:xfrm>
            <a:off x="457200" y="1240971"/>
            <a:ext cx="10695904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2000" b="1" dirty="0"/>
              <a:t>Complexity - Assets:</a:t>
            </a:r>
          </a:p>
          <a:p>
            <a:endParaRPr lang="en-ZA" sz="2000" dirty="0"/>
          </a:p>
          <a:p>
            <a:r>
              <a:rPr lang="en-ZA" sz="2000" dirty="0"/>
              <a:t>The tenderer must have demonstrable experience in the provision of tax health assessment services to large and complex South African taxpayer companies as measured by assets.   </a:t>
            </a:r>
          </a:p>
          <a:p>
            <a:r>
              <a:rPr lang="en-ZA" sz="2000" dirty="0"/>
              <a:t>The tenderer must provide contactable references (i.e. reference letters on clients’ letterheads) in respect of the provision of tax health assessment services to South African taxpayer companies.</a:t>
            </a:r>
          </a:p>
          <a:p>
            <a:r>
              <a:rPr lang="en-ZA" sz="2000" dirty="0"/>
              <a:t>The tenderer must provide a reference from a client with the highest total Property Plant and Equipment per their latest audited annual financial statements</a:t>
            </a:r>
          </a:p>
          <a:p>
            <a:endParaRPr lang="en-ZA" sz="20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Assets more than R900bn (30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Assets between R700bn and R900bn (2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Assets between R500bn and R700bn (20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Assets between R300bn and R500bn (1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Assets below R300bn (10 points) </a:t>
            </a:r>
          </a:p>
        </p:txBody>
      </p:sp>
    </p:spTree>
    <p:extLst>
      <p:ext uri="{BB962C8B-B14F-4D97-AF65-F5344CB8AC3E}">
        <p14:creationId xmlns:p14="http://schemas.microsoft.com/office/powerpoint/2010/main" val="1019732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C8C93-2A81-3320-332D-E3E03002E2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8455E2-D0E5-2C20-4B09-13AC904FB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5" y="148619"/>
            <a:ext cx="9511777" cy="666000"/>
          </a:xfrm>
        </p:spPr>
        <p:txBody>
          <a:bodyPr/>
          <a:lstStyle/>
          <a:p>
            <a:r>
              <a:rPr lang="en-US" sz="2400" dirty="0"/>
              <a:t>Technical evaluation – cont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D8F648C-E994-EFC8-9062-FD02DE193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r>
              <a:rPr lang="en-US" dirty="0">
                <a:solidFill>
                  <a:srgbClr val="003896">
                    <a:tint val="75000"/>
                  </a:srgbClr>
                </a:solidFill>
              </a:rPr>
              <a:t>Tax Health Assessment</a:t>
            </a:r>
            <a:endParaRPr lang="en-ZA" dirty="0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475E252-FA68-EF1D-2F1D-C710CEFFD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fld id="{56B1497D-D85C-49F0-B0C9-9C5FED4EAE9E}" type="slidenum">
              <a:rPr lang="en-ZA">
                <a:solidFill>
                  <a:srgbClr val="003896">
                    <a:tint val="75000"/>
                  </a:srgbClr>
                </a:solidFill>
              </a:rPr>
              <a:pPr defTabSz="685800">
                <a:defRPr/>
              </a:pPr>
              <a:t>7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521D32E-9C7C-6460-80DE-22414BC306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09" y="4316299"/>
            <a:ext cx="160324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DAC77E-6EA2-F864-6520-0CB6975B6C88}"/>
              </a:ext>
            </a:extLst>
          </p:cNvPr>
          <p:cNvSpPr txBox="1"/>
          <p:nvPr/>
        </p:nvSpPr>
        <p:spPr>
          <a:xfrm>
            <a:off x="457200" y="1240971"/>
            <a:ext cx="10695904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2000" b="1" dirty="0"/>
              <a:t>Management experience:</a:t>
            </a:r>
          </a:p>
          <a:p>
            <a:r>
              <a:rPr lang="en-ZA" sz="2000" dirty="0"/>
              <a:t>The managing executive or partner for each tax type must demonstrate relevant experience.  </a:t>
            </a:r>
          </a:p>
          <a:p>
            <a:r>
              <a:rPr lang="en-ZA" sz="2000" dirty="0"/>
              <a:t>The tenderer to provide the CV of the managing executive or partner for each tax type including years of experience in providing tax health assessments to South African taxpayer companies.</a:t>
            </a:r>
          </a:p>
          <a:p>
            <a:endParaRPr lang="en-ZA" sz="20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in providing tax health assessments more than twenty (20) years (20 points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in providing tax health assessments between fifteen (15) and twenty (20) years (1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in providing health tax assessments between ten (10) and fifteen (15) years (10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in providing tax health assessments between five (5) and ten (10) years (5 points)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ZA" sz="2000" dirty="0"/>
              <a:t>Years of experience in providing tax heath assessment below five (5) years (0 points) </a:t>
            </a:r>
          </a:p>
        </p:txBody>
      </p:sp>
    </p:spTree>
    <p:extLst>
      <p:ext uri="{BB962C8B-B14F-4D97-AF65-F5344CB8AC3E}">
        <p14:creationId xmlns:p14="http://schemas.microsoft.com/office/powerpoint/2010/main" val="1459463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35EB5D-E406-01A2-B481-BBA2C73E7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4C71A-8699-9FAB-1158-62FADB39E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5" y="148619"/>
            <a:ext cx="9511777" cy="666000"/>
          </a:xfrm>
        </p:spPr>
        <p:txBody>
          <a:bodyPr/>
          <a:lstStyle/>
          <a:p>
            <a:r>
              <a:rPr lang="en-US" sz="2400" dirty="0"/>
              <a:t>Duration of contract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20C67B1-FB19-7898-3570-5B3B7137AD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r>
              <a:rPr lang="en-US" dirty="0">
                <a:solidFill>
                  <a:srgbClr val="003896">
                    <a:tint val="75000"/>
                  </a:srgbClr>
                </a:solidFill>
              </a:rPr>
              <a:t>Tax Health Assessment</a:t>
            </a:r>
            <a:endParaRPr lang="en-ZA" dirty="0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E436CD3-97B6-7B85-F206-1856D8AF05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defRPr/>
            </a:pPr>
            <a:fld id="{56B1497D-D85C-49F0-B0C9-9C5FED4EAE9E}" type="slidenum">
              <a:rPr lang="en-ZA">
                <a:solidFill>
                  <a:srgbClr val="003896">
                    <a:tint val="75000"/>
                  </a:srgbClr>
                </a:solidFill>
              </a:rPr>
              <a:pPr defTabSz="685800">
                <a:defRPr/>
              </a:pPr>
              <a:t>8</a:t>
            </a:fld>
            <a:endParaRPr lang="en-ZA">
              <a:solidFill>
                <a:srgbClr val="003896">
                  <a:tint val="75000"/>
                </a:srgbClr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CDE67B69-6A18-FE36-0B98-4D021CFB19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09" y="4316299"/>
            <a:ext cx="160324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0BDEB6A-3342-4908-BEDC-4B036DB2EB99}"/>
              </a:ext>
            </a:extLst>
          </p:cNvPr>
          <p:cNvSpPr txBox="1"/>
          <p:nvPr/>
        </p:nvSpPr>
        <p:spPr>
          <a:xfrm>
            <a:off x="457200" y="1240971"/>
            <a:ext cx="10695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/>
              <a:t>Initial period -  4 month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en-US" sz="24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/>
              <a:t>New period  - 12 months</a:t>
            </a:r>
            <a:endParaRPr lang="en-ZA" sz="2400" dirty="0"/>
          </a:p>
        </p:txBody>
      </p:sp>
    </p:spTree>
    <p:extLst>
      <p:ext uri="{BB962C8B-B14F-4D97-AF65-F5344CB8AC3E}">
        <p14:creationId xmlns:p14="http://schemas.microsoft.com/office/powerpoint/2010/main" val="888361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0rEX8F902pahdq1Yuqa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USzVCWFpEWNqIqQzBVF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XY5Hu7cWUy77v3ZZR6a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KwuX2TJEmi8R.OXU4V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PLGxnItEG6nnxkLqf2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lYtz1c00GxPeQdAI7.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ZZYSH1.iE.1J3Hc6Nhm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QZF5Z6l5kGhOJTMZSDJ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JwjfRCDUKBBS28kA3e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c21taHREOAWz7YKp.2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0rEX8F902pahdq1Yuq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USzVCWFpEWNqIqQzBVF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XY5Hu7cWUy77v3ZZR6a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KwuX2TJEmi8R.OXU4V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PLGxnItEG6nnxkLqf2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lYtz1c00GxPeQdAI7.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ZZYSH1.iE.1J3Hc6Nhm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QZF5Z6l5kGhOJTMZSDJ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JwjfRCDUKBBS28kA3e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c21taHREOAWz7YKp.2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0rEX8F902pahdq1Yuq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USzVCWFpEWNqIqQzBVFJ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XY5Hu7cWUy77v3ZZR6aB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KwuX2TJEmi8R.OXU4V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PLGxnItEG6nnxkLqf28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lYtz1c00GxPeQdAI7.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ZZYSH1.iE.1J3Hc6Nhm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QZF5Z6l5kGhOJTMZSDJ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JwjfRCDUKBBS28kA3e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c21taHREOAWz7YKp.2r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0rEX8F902pahdq1Yuqa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.ZCKoOE.o9uW.O81t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EFcXzKmEOI8fnX.2Qk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USzVCWFpEWNqIqQzBVFJ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XY5Hu7cWUy77v3ZZR6a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KwuX2TJEmi8R.OXU4VS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PLGxnItEG6nnxkLqf28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lYtz1c00GxPeQdAI7.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ZZYSH1.iE.1J3Hc6NhmK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QZF5Z6l5kGhOJTMZSDJ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JwjfRCDUKBBS28kA3eH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c21taHREOAWz7YKp.2rg"/>
</p:tagLst>
</file>

<file path=ppt/theme/theme1.xml><?xml version="1.0" encoding="utf-8"?>
<a:theme xmlns:a="http://schemas.openxmlformats.org/drawingml/2006/main" name="52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83725B"/>
      </a:accent3>
      <a:accent4>
        <a:srgbClr val="858705"/>
      </a:accent4>
      <a:accent5>
        <a:srgbClr val="FF6600"/>
      </a:accent5>
      <a:accent6>
        <a:srgbClr val="808080"/>
      </a:accent6>
      <a:hlink>
        <a:srgbClr val="83725B"/>
      </a:hlink>
      <a:folHlink>
        <a:srgbClr val="858705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858705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12.xml><?xml version="1.0" encoding="utf-8"?>
<a:theme xmlns:a="http://schemas.openxmlformats.org/drawingml/2006/main" name="5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83725B"/>
      </a:accent3>
      <a:accent4>
        <a:srgbClr val="858705"/>
      </a:accent4>
      <a:accent5>
        <a:srgbClr val="FF6600"/>
      </a:accent5>
      <a:accent6>
        <a:srgbClr val="808080"/>
      </a:accent6>
      <a:hlink>
        <a:srgbClr val="83725B"/>
      </a:hlink>
      <a:folHlink>
        <a:srgbClr val="858705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858705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3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83725B"/>
      </a:accent3>
      <a:accent4>
        <a:srgbClr val="858705"/>
      </a:accent4>
      <a:accent5>
        <a:srgbClr val="FF6600"/>
      </a:accent5>
      <a:accent6>
        <a:srgbClr val="808080"/>
      </a:accent6>
      <a:hlink>
        <a:srgbClr val="83725B"/>
      </a:hlink>
      <a:folHlink>
        <a:srgbClr val="858705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858705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8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restemplateB2 2016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92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resentation template 1 - with visuals included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 template 1 - with visuals included 2017 [Read-Only]" id="{FFF8B32C-E867-440E-B784-0B96CD195986}" vid="{24D2CD3C-B62D-45CD-BF45-04A464CA3D5F}"/>
    </a:ext>
  </a:extLst>
</a:theme>
</file>

<file path=ppt/theme/theme8.xml><?xml version="1.0" encoding="utf-8"?>
<a:theme xmlns:a="http://schemas.openxmlformats.org/drawingml/2006/main" name="4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83725B"/>
      </a:accent3>
      <a:accent4>
        <a:srgbClr val="858705"/>
      </a:accent4>
      <a:accent5>
        <a:srgbClr val="FF6600"/>
      </a:accent5>
      <a:accent6>
        <a:srgbClr val="808080"/>
      </a:accent6>
      <a:hlink>
        <a:srgbClr val="83725B"/>
      </a:hlink>
      <a:folHlink>
        <a:srgbClr val="858705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83725B"/>
        </a:accent3>
        <a:accent4>
          <a:srgbClr val="858705"/>
        </a:accent4>
        <a:accent5>
          <a:srgbClr val="FF6600"/>
        </a:accent5>
        <a:accent6>
          <a:srgbClr val="808080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Presentation template 1 - with visuals included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 template 1 - with visuals included 2017 [Read-Only]" id="{FFF8B32C-E867-440E-B784-0B96CD195986}" vid="{24D2CD3C-B62D-45CD-BF45-04A464CA3D5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96AF0342C83B4DB08430F18AE47110" ma:contentTypeVersion="16" ma:contentTypeDescription="Create a new document." ma:contentTypeScope="" ma:versionID="6e6f1e065db40acc37131c91620bfd19">
  <xsd:schema xmlns:xsd="http://www.w3.org/2001/XMLSchema" xmlns:xs="http://www.w3.org/2001/XMLSchema" xmlns:p="http://schemas.microsoft.com/office/2006/metadata/properties" xmlns:ns2="f8b181f0-385a-49d3-93da-aa8ec857e98a" xmlns:ns3="43813d10-2616-45c0-9fa9-09b13a9c3e47" targetNamespace="http://schemas.microsoft.com/office/2006/metadata/properties" ma:root="true" ma:fieldsID="7637c136bc46d0220a3549952783a439" ns2:_="" ns3:_="">
    <xsd:import namespace="f8b181f0-385a-49d3-93da-aa8ec857e98a"/>
    <xsd:import namespace="43813d10-2616-45c0-9fa9-09b13a9c3e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b181f0-385a-49d3-93da-aa8ec857e9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5fa3029-581b-4330-9c67-5ed5a891ea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13d10-2616-45c0-9fa9-09b13a9c3e4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89328163-741a-4c1c-921a-5be810ca8601}" ma:internalName="TaxCatchAll" ma:showField="CatchAllData" ma:web="43813d10-2616-45c0-9fa9-09b13a9c3e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3813d10-2616-45c0-9fa9-09b13a9c3e47">
      <UserInfo>
        <DisplayName>Siyabulela Nciweni</DisplayName>
        <AccountId>58</AccountId>
        <AccountType/>
      </UserInfo>
      <UserInfo>
        <DisplayName>Petunia Ledwaba</DisplayName>
        <AccountId>27</AccountId>
        <AccountType/>
      </UserInfo>
      <UserInfo>
        <DisplayName>Therese Van Wyngaard</DisplayName>
        <AccountId>564</AccountId>
        <AccountType/>
      </UserInfo>
      <UserInfo>
        <DisplayName>Thembeka Madlala</DisplayName>
        <AccountId>569</AccountId>
        <AccountType/>
      </UserInfo>
      <UserInfo>
        <DisplayName>Bulelani Ntsizi</DisplayName>
        <AccountId>53</AccountId>
        <AccountType/>
      </UserInfo>
      <UserInfo>
        <DisplayName>Rene Smit</DisplayName>
        <AccountId>32</AccountId>
        <AccountType/>
      </UserInfo>
      <UserInfo>
        <DisplayName>Thapelo Moerane</DisplayName>
        <AccountId>29</AccountId>
        <AccountType/>
      </UserInfo>
      <UserInfo>
        <DisplayName>Aubrey Mashatola</DisplayName>
        <AccountId>34</AccountId>
        <AccountType/>
      </UserInfo>
      <UserInfo>
        <DisplayName>Ashley Govender</DisplayName>
        <AccountId>14</AccountId>
        <AccountType/>
      </UserInfo>
      <UserInfo>
        <DisplayName>Morateng Skhosana</DisplayName>
        <AccountId>15</AccountId>
        <AccountType/>
      </UserInfo>
      <UserInfo>
        <DisplayName>Shirley Konopi</DisplayName>
        <AccountId>16</AccountId>
        <AccountType/>
      </UserInfo>
      <UserInfo>
        <DisplayName>Lerato Kedijang</DisplayName>
        <AccountId>17</AccountId>
        <AccountType/>
      </UserInfo>
      <UserInfo>
        <DisplayName>Angelene Govender</DisplayName>
        <AccountId>18</AccountId>
        <AccountType/>
      </UserInfo>
      <UserInfo>
        <DisplayName>Pierre Coulson</DisplayName>
        <AccountId>19</AccountId>
        <AccountType/>
      </UserInfo>
      <UserInfo>
        <DisplayName>Digoke Makgolane</DisplayName>
        <AccountId>23</AccountId>
        <AccountType/>
      </UserInfo>
      <UserInfo>
        <DisplayName>Pinky Mashike</DisplayName>
        <AccountId>25</AccountId>
        <AccountType/>
      </UserInfo>
      <UserInfo>
        <DisplayName>Masedi Phetoe</DisplayName>
        <AccountId>26</AccountId>
        <AccountType/>
      </UserInfo>
      <UserInfo>
        <DisplayName>Ronel Coetzee</DisplayName>
        <AccountId>30</AccountId>
        <AccountType/>
      </UserInfo>
      <UserInfo>
        <DisplayName>Kulsum Yassin</DisplayName>
        <AccountId>31</AccountId>
        <AccountType/>
      </UserInfo>
      <UserInfo>
        <DisplayName>Siven Naidoo</DisplayName>
        <AccountId>33</AccountId>
        <AccountType/>
      </UserInfo>
      <UserInfo>
        <DisplayName>Thokozani Mngomezulu</DisplayName>
        <AccountId>35</AccountId>
        <AccountType/>
      </UserInfo>
      <UserInfo>
        <DisplayName>Mandla Mkhwanazi</DisplayName>
        <AccountId>36</AccountId>
        <AccountType/>
      </UserInfo>
      <UserInfo>
        <DisplayName>Monica Naidoo</DisplayName>
        <AccountId>37</AccountId>
        <AccountType/>
      </UserInfo>
      <UserInfo>
        <DisplayName>Sne Duma</DisplayName>
        <AccountId>38</AccountId>
        <AccountType/>
      </UserInfo>
      <UserInfo>
        <DisplayName>Kgofu Noge</DisplayName>
        <AccountId>39</AccountId>
        <AccountType/>
      </UserInfo>
      <UserInfo>
        <DisplayName>Gugu Khumalo</DisplayName>
        <AccountId>435</AccountId>
        <AccountType/>
      </UserInfo>
      <UserInfo>
        <DisplayName>Kim Pillay</DisplayName>
        <AccountId>570</AccountId>
        <AccountType/>
      </UserInfo>
    </SharedWithUsers>
    <TaxCatchAll xmlns="43813d10-2616-45c0-9fa9-09b13a9c3e47" xsi:nil="true"/>
    <lcf76f155ced4ddcb4097134ff3c332f xmlns="f8b181f0-385a-49d3-93da-aa8ec857e98a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9CA006-A1D8-4A53-BEE1-8FE5550B9817}">
  <ds:schemaRefs>
    <ds:schemaRef ds:uri="43813d10-2616-45c0-9fa9-09b13a9c3e47"/>
    <ds:schemaRef ds:uri="f8b181f0-385a-49d3-93da-aa8ec857e9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F9D5AC7-79B1-4BB4-8419-7CFE5B4D181A}">
  <ds:schemaRefs>
    <ds:schemaRef ds:uri="43813d10-2616-45c0-9fa9-09b13a9c3e47"/>
    <ds:schemaRef ds:uri="f8b181f0-385a-49d3-93da-aa8ec857e98a"/>
    <ds:schemaRef ds:uri="ff7f3203-8193-4cfd-b5bd-47bcad6393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E25949F-3EF2-4F04-818E-D6BA54F35E9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3</TotalTime>
  <Words>801</Words>
  <Application>Microsoft Office PowerPoint</Application>
  <PresentationFormat>Widescreen</PresentationFormat>
  <Paragraphs>106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7" baseType="lpstr">
      <vt:lpstr>Arial</vt:lpstr>
      <vt:lpstr>Calibri</vt:lpstr>
      <vt:lpstr>Courier New</vt:lpstr>
      <vt:lpstr>Times New Roman</vt:lpstr>
      <vt:lpstr>Wingdings</vt:lpstr>
      <vt:lpstr>52_Default Design</vt:lpstr>
      <vt:lpstr>53_Default Design</vt:lpstr>
      <vt:lpstr>2_Default Design</vt:lpstr>
      <vt:lpstr>28_Default Design</vt:lpstr>
      <vt:lpstr>PrestemplateB2 2016</vt:lpstr>
      <vt:lpstr>92_Default Design</vt:lpstr>
      <vt:lpstr>Presentation template 1 - with visuals included</vt:lpstr>
      <vt:lpstr>4_Default Design</vt:lpstr>
      <vt:lpstr>1_Presentation template 1 - with visuals included</vt:lpstr>
      <vt:lpstr>3_Default Design</vt:lpstr>
      <vt:lpstr>Content Slide Master</vt:lpstr>
      <vt:lpstr>5_Default Design</vt:lpstr>
      <vt:lpstr>1_Default Design</vt:lpstr>
      <vt:lpstr>think-cell Slide</vt:lpstr>
      <vt:lpstr>Clarification Meeting   Provision of Tax Health Assessment Review at Eskom Holdings SOC Ltd and National Transmission Company South Africa (NTCSA) SOC Ltd.</vt:lpstr>
      <vt:lpstr>Key components of the scope of work</vt:lpstr>
      <vt:lpstr>Technical evaluation</vt:lpstr>
      <vt:lpstr>Technical evaluation – cont.</vt:lpstr>
      <vt:lpstr>Technical evaluation</vt:lpstr>
      <vt:lpstr>Technical evaluation – cont.</vt:lpstr>
      <vt:lpstr>Technical evaluation – cont.</vt:lpstr>
      <vt:lpstr>Duration of contr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kom Quality Health Index (EQHI)   Line Divisions and Support Groups</dc:title>
  <dc:creator>Khosi Mkongi</dc:creator>
  <cp:lastModifiedBy>Pam Nolutshungu</cp:lastModifiedBy>
  <cp:revision>9</cp:revision>
  <dcterms:modified xsi:type="dcterms:W3CDTF">2026-03-18T13:5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96AF0342C83B4DB08430F18AE47110</vt:lpwstr>
  </property>
  <property fmtid="{D5CDD505-2E9C-101B-9397-08002B2CF9AE}" pid="3" name="MediaServiceImageTags">
    <vt:lpwstr/>
  </property>
</Properties>
</file>